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7"/>
  </p:notesMasterIdLst>
  <p:sldIdLst>
    <p:sldId id="258" r:id="rId5"/>
    <p:sldId id="259" r:id="rId6"/>
  </p:sldIdLst>
  <p:sldSz cx="9906000" cy="6858000" type="A4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申請様式1" id="{5B80BA57-1760-4218-B3A1-308F493F79EC}">
          <p14:sldIdLst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5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187624-B170-55A3-1200-BC8B5D63D106}" v="3" dt="2023-10-10T08:47:15.6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2196" y="96"/>
      </p:cViewPr>
      <p:guideLst>
        <p:guide orient="horz" pos="2137"/>
        <p:guide pos="25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hii, Yuka" userId="3ba63dc6-6e55-475b-be6b-cac8d79da101" providerId="ADAL" clId="{D6B09878-6340-4477-A6CD-5DD3CE68F9C9}"/>
    <pc:docChg chg="undo redo custSel modSld">
      <pc:chgData name="Ishii, Yuka" userId="3ba63dc6-6e55-475b-be6b-cac8d79da101" providerId="ADAL" clId="{D6B09878-6340-4477-A6CD-5DD3CE68F9C9}" dt="2023-10-11T06:03:43.921" v="486" actId="20577"/>
      <pc:docMkLst>
        <pc:docMk/>
      </pc:docMkLst>
      <pc:sldChg chg="modSp mod">
        <pc:chgData name="Ishii, Yuka" userId="3ba63dc6-6e55-475b-be6b-cac8d79da101" providerId="ADAL" clId="{D6B09878-6340-4477-A6CD-5DD3CE68F9C9}" dt="2023-10-11T06:00:12.338" v="6"/>
        <pc:sldMkLst>
          <pc:docMk/>
          <pc:sldMk cId="3623768495" sldId="257"/>
        </pc:sldMkLst>
        <pc:spChg chg="mod">
          <ac:chgData name="Ishii, Yuka" userId="3ba63dc6-6e55-475b-be6b-cac8d79da101" providerId="ADAL" clId="{D6B09878-6340-4477-A6CD-5DD3CE68F9C9}" dt="2023-10-11T06:00:12.338" v="6"/>
          <ac:spMkLst>
            <pc:docMk/>
            <pc:sldMk cId="3623768495" sldId="257"/>
            <ac:spMk id="45" creationId="{70D074C3-4A3C-3B70-F723-79ABB447E15C}"/>
          </ac:spMkLst>
        </pc:spChg>
      </pc:sldChg>
      <pc:sldChg chg="modSp mod">
        <pc:chgData name="Ishii, Yuka" userId="3ba63dc6-6e55-475b-be6b-cac8d79da101" providerId="ADAL" clId="{D6B09878-6340-4477-A6CD-5DD3CE68F9C9}" dt="2023-10-11T06:03:43.921" v="486" actId="20577"/>
        <pc:sldMkLst>
          <pc:docMk/>
          <pc:sldMk cId="2776085579" sldId="258"/>
        </pc:sldMkLst>
        <pc:spChg chg="mod">
          <ac:chgData name="Ishii, Yuka" userId="3ba63dc6-6e55-475b-be6b-cac8d79da101" providerId="ADAL" clId="{D6B09878-6340-4477-A6CD-5DD3CE68F9C9}" dt="2023-10-11T06:03:43.921" v="486" actId="20577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Ishii, Yuka" userId="3ba63dc6-6e55-475b-be6b-cac8d79da101" providerId="ADAL" clId="{D6B09878-6340-4477-A6CD-5DD3CE68F9C9}" dt="2023-10-11T06:00:17.248" v="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  <pc:docChgLst>
    <pc:chgData name="Niina, Kohei" userId="6502ebbc-7a0c-4c84-ab40-99a82449d348" providerId="ADAL" clId="{E9DB75B4-E7FD-4E07-A9F8-4EE776886281}"/>
    <pc:docChg chg="custSel addSld modSld modSection">
      <pc:chgData name="Niina, Kohei" userId="6502ebbc-7a0c-4c84-ab40-99a82449d348" providerId="ADAL" clId="{E9DB75B4-E7FD-4E07-A9F8-4EE776886281}" dt="2023-10-01T22:24:50.428" v="461"/>
      <pc:docMkLst>
        <pc:docMk/>
      </pc:docMkLst>
      <pc:sldChg chg="modSp mod">
        <pc:chgData name="Niina, Kohei" userId="6502ebbc-7a0c-4c84-ab40-99a82449d348" providerId="ADAL" clId="{E9DB75B4-E7FD-4E07-A9F8-4EE776886281}" dt="2023-10-01T22:24:39.863" v="458" actId="14100"/>
        <pc:sldMkLst>
          <pc:docMk/>
          <pc:sldMk cId="3623768495" sldId="257"/>
        </pc:sldMkLst>
        <pc:spChg chg="mod">
          <ac:chgData name="Niina, Kohei" userId="6502ebbc-7a0c-4c84-ab40-99a82449d348" providerId="ADAL" clId="{E9DB75B4-E7FD-4E07-A9F8-4EE776886281}" dt="2023-10-01T22:19:50.673" v="60" actId="20577"/>
          <ac:spMkLst>
            <pc:docMk/>
            <pc:sldMk cId="3623768495" sldId="257"/>
            <ac:spMk id="51" creationId="{7A5B9F25-175E-7B33-5203-D678032CFC51}"/>
          </ac:spMkLst>
        </pc:spChg>
        <pc:spChg chg="mod">
          <ac:chgData name="Niina, Kohei" userId="6502ebbc-7a0c-4c84-ab40-99a82449d348" providerId="ADAL" clId="{E9DB75B4-E7FD-4E07-A9F8-4EE776886281}" dt="2023-10-01T22:24:39.863" v="458" actId="14100"/>
          <ac:spMkLst>
            <pc:docMk/>
            <pc:sldMk cId="3623768495" sldId="257"/>
            <ac:spMk id="68" creationId="{091640CC-6832-07D2-2080-99B775C81D3F}"/>
          </ac:spMkLst>
        </pc:spChg>
      </pc:sldChg>
      <pc:sldChg chg="addSp delSp modSp mod">
        <pc:chgData name="Niina, Kohei" userId="6502ebbc-7a0c-4c84-ab40-99a82449d348" providerId="ADAL" clId="{E9DB75B4-E7FD-4E07-A9F8-4EE776886281}" dt="2023-10-01T22:24:46.689" v="460"/>
        <pc:sldMkLst>
          <pc:docMk/>
          <pc:sldMk cId="2776085579" sldId="258"/>
        </pc:sldMkLst>
        <pc:spChg chg="add mod">
          <ac:chgData name="Niina, Kohei" userId="6502ebbc-7a0c-4c84-ab40-99a82449d348" providerId="ADAL" clId="{E9DB75B4-E7FD-4E07-A9F8-4EE776886281}" dt="2023-10-01T22:24:46.689" v="460"/>
          <ac:spMkLst>
            <pc:docMk/>
            <pc:sldMk cId="2776085579" sldId="258"/>
            <ac:spMk id="2" creationId="{D9C02187-7290-33F2-2826-05E4AE7EDC74}"/>
          </ac:spMkLst>
        </pc:spChg>
        <pc:spChg chg="mod">
          <ac:chgData name="Niina, Kohei" userId="6502ebbc-7a0c-4c84-ab40-99a82449d348" providerId="ADAL" clId="{E9DB75B4-E7FD-4E07-A9F8-4EE776886281}" dt="2023-10-01T22:19:37.792" v="49" actId="20577"/>
          <ac:spMkLst>
            <pc:docMk/>
            <pc:sldMk cId="2776085579" sldId="258"/>
            <ac:spMk id="4" creationId="{FD1DBB9A-DE18-A086-AF2C-C0E4C0FFBACC}"/>
          </ac:spMkLst>
        </pc:spChg>
        <pc:spChg chg="del">
          <ac:chgData name="Niina, Kohei" userId="6502ebbc-7a0c-4c84-ab40-99a82449d348" providerId="ADAL" clId="{E9DB75B4-E7FD-4E07-A9F8-4EE776886281}" dt="2023-10-01T22:24:46.063" v="459" actId="478"/>
          <ac:spMkLst>
            <pc:docMk/>
            <pc:sldMk cId="2776085579" sldId="258"/>
            <ac:spMk id="27" creationId="{01C3F4EB-40BC-1F70-F4F3-E9744ADF947C}"/>
          </ac:spMkLst>
        </pc:spChg>
        <pc:spChg chg="mod">
          <ac:chgData name="Niina, Kohei" userId="6502ebbc-7a0c-4c84-ab40-99a82449d348" providerId="ADAL" clId="{E9DB75B4-E7FD-4E07-A9F8-4EE776886281}" dt="2023-10-01T22:20:27.591" v="118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Niina, Kohei" userId="6502ebbc-7a0c-4c84-ab40-99a82449d348" providerId="ADAL" clId="{E9DB75B4-E7FD-4E07-A9F8-4EE776886281}" dt="2023-10-01T22:20:42.535" v="139" actId="20577"/>
          <ac:spMkLst>
            <pc:docMk/>
            <pc:sldMk cId="2776085579" sldId="258"/>
            <ac:spMk id="59" creationId="{1C123FBE-1587-E01F-254D-8210C1044DE2}"/>
          </ac:spMkLst>
        </pc:spChg>
      </pc:sldChg>
      <pc:sldChg chg="addSp delSp modSp new mod">
        <pc:chgData name="Niina, Kohei" userId="6502ebbc-7a0c-4c84-ab40-99a82449d348" providerId="ADAL" clId="{E9DB75B4-E7FD-4E07-A9F8-4EE776886281}" dt="2023-10-01T22:24:50.428" v="461"/>
        <pc:sldMkLst>
          <pc:docMk/>
          <pc:sldMk cId="1197323221" sldId="259"/>
        </pc:sldMkLst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2" creationId="{804D891D-CE11-AA9A-625F-AF1919818AB8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3" creationId="{1C776E67-7B09-BEC5-42B2-FC05C2012082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4" creationId="{7838791B-95C6-8DFD-D5DA-1BEDA0336647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5" creationId="{8B8EEB66-7226-A5F9-2C97-63EE920E993D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6" creationId="{A404C45D-111C-CB58-8B68-AB3BF147E5A9}"/>
          </ac:spMkLst>
        </pc:spChg>
        <pc:spChg chg="add del mod">
          <ac:chgData name="Niina, Kohei" userId="6502ebbc-7a0c-4c84-ab40-99a82449d348" providerId="ADAL" clId="{E9DB75B4-E7FD-4E07-A9F8-4EE776886281}" dt="2023-10-01T22:21:50.550" v="157" actId="21"/>
          <ac:spMkLst>
            <pc:docMk/>
            <pc:sldMk cId="1197323221" sldId="259"/>
            <ac:spMk id="7" creationId="{E4D06FB8-0D72-BD74-8410-7547440D6CFA}"/>
          </ac:spMkLst>
        </pc:spChg>
        <pc:spChg chg="add mod">
          <ac:chgData name="Niina, Kohei" userId="6502ebbc-7a0c-4c84-ab40-99a82449d348" providerId="ADAL" clId="{E9DB75B4-E7FD-4E07-A9F8-4EE776886281}" dt="2023-10-01T22:24:08.583" v="429" actId="20577"/>
          <ac:spMkLst>
            <pc:docMk/>
            <pc:sldMk cId="1197323221" sldId="259"/>
            <ac:spMk id="8" creationId="{7D4B171C-94AB-344E-2CF2-F4F7D4E1D6FE}"/>
          </ac:spMkLst>
        </pc:spChg>
        <pc:spChg chg="add mod">
          <ac:chgData name="Niina, Kohei" userId="6502ebbc-7a0c-4c84-ab40-99a82449d348" providerId="ADAL" clId="{E9DB75B4-E7FD-4E07-A9F8-4EE776886281}" dt="2023-10-01T22:24:50.428" v="461"/>
          <ac:spMkLst>
            <pc:docMk/>
            <pc:sldMk cId="1197323221" sldId="259"/>
            <ac:spMk id="9" creationId="{93438F8C-4172-1AA4-F885-99FD8ECDC323}"/>
          </ac:spMkLst>
        </pc:spChg>
      </pc:sldChg>
    </pc:docChg>
  </pc:docChgLst>
  <pc:docChgLst>
    <pc:chgData name="Niina, Kohei" userId="S::kohei.niina@tohmatsu.co.jp::6502ebbc-7a0c-4c84-ab40-99a82449d348" providerId="AD" clId="Web-{6DE18383-C67F-40C0-8DF9-80DC1AB49EF3}"/>
    <pc:docChg chg="addSld delSld modSection">
      <pc:chgData name="Niina, Kohei" userId="S::kohei.niina@tohmatsu.co.jp::6502ebbc-7a0c-4c84-ab40-99a82449d348" providerId="AD" clId="Web-{6DE18383-C67F-40C0-8DF9-80DC1AB49EF3}" dt="2023-10-01T22:13:55.696" v="1"/>
      <pc:docMkLst>
        <pc:docMk/>
      </pc:docMkLst>
      <pc:sldChg chg="new del">
        <pc:chgData name="Niina, Kohei" userId="S::kohei.niina@tohmatsu.co.jp::6502ebbc-7a0c-4c84-ab40-99a82449d348" providerId="AD" clId="Web-{6DE18383-C67F-40C0-8DF9-80DC1AB49EF3}" dt="2023-10-01T22:13:55.696" v="1"/>
        <pc:sldMkLst>
          <pc:docMk/>
          <pc:sldMk cId="3887969098" sldId="259"/>
        </pc:sldMkLst>
      </pc:sldChg>
    </pc:docChg>
  </pc:docChgLst>
  <pc:docChgLst>
    <pc:chgData name="Kobayashi, Aoi" userId="ef58220d-27c0-4129-aee6-d47e1f114e2f" providerId="ADAL" clId="{821B1626-A4CC-4AE3-8EA1-C676344BB3FF}"/>
    <pc:docChg chg="undo custSel addSld modSld modMainMaster modSection">
      <pc:chgData name="Kobayashi, Aoi" userId="ef58220d-27c0-4129-aee6-d47e1f114e2f" providerId="ADAL" clId="{821B1626-A4CC-4AE3-8EA1-C676344BB3FF}" dt="2023-09-28T04:37:16.276" v="1920" actId="17846"/>
      <pc:docMkLst>
        <pc:docMk/>
      </pc:docMkLst>
      <pc:sldChg chg="addSp delSp modSp mod">
        <pc:chgData name="Kobayashi, Aoi" userId="ef58220d-27c0-4129-aee6-d47e1f114e2f" providerId="ADAL" clId="{821B1626-A4CC-4AE3-8EA1-C676344BB3FF}" dt="2023-09-28T04:23:33.915" v="1493" actId="20577"/>
        <pc:sldMkLst>
          <pc:docMk/>
          <pc:sldMk cId="3623768495" sldId="257"/>
        </pc:sldMkLst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0:46.633" v="1252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16:56.301" v="870" actId="14100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821B1626-A4CC-4AE3-8EA1-C676344BB3FF}" dt="2023-09-28T04:17:00.065" v="873" actId="1035"/>
          <ac:spMkLst>
            <pc:docMk/>
            <pc:sldMk cId="3623768495" sldId="257"/>
            <ac:spMk id="10" creationId="{333BAE42-4813-B951-CBB5-EF8762343314}"/>
          </ac:spMkLst>
        </pc:spChg>
        <pc:spChg chg="del mod">
          <ac:chgData name="Kobayashi, Aoi" userId="ef58220d-27c0-4129-aee6-d47e1f114e2f" providerId="ADAL" clId="{821B1626-A4CC-4AE3-8EA1-C676344BB3FF}" dt="2023-09-28T02:25:47.419" v="468" actId="47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14:45.862" v="774" actId="1035"/>
          <ac:spMkLst>
            <pc:docMk/>
            <pc:sldMk cId="3623768495" sldId="257"/>
            <ac:spMk id="13" creationId="{F1EC8D81-9769-214E-4F12-B700FE62FDA6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0" creationId="{7C1E094B-288B-12F7-051D-9960C0C5D76E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821B1626-A4CC-4AE3-8EA1-C676344BB3FF}" dt="2023-09-28T04:22:54.549" v="1341" actId="20577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821B1626-A4CC-4AE3-8EA1-C676344BB3FF}" dt="2023-09-28T04:18:14.820" v="1021" actId="14100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821B1626-A4CC-4AE3-8EA1-C676344BB3FF}" dt="2023-09-28T02:28:52.587" v="728" actId="21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821B1626-A4CC-4AE3-8EA1-C676344BB3FF}" dt="2023-09-28T02:26:57.868" v="493" actId="14100"/>
          <ac:spMkLst>
            <pc:docMk/>
            <pc:sldMk cId="3623768495" sldId="257"/>
            <ac:spMk id="25" creationId="{0E5CE8F3-F8FD-7442-3FA3-94F7FA943A93}"/>
          </ac:spMkLst>
        </pc:spChg>
        <pc:spChg chg="del">
          <ac:chgData name="Kobayashi, Aoi" userId="ef58220d-27c0-4129-aee6-d47e1f114e2f" providerId="ADAL" clId="{821B1626-A4CC-4AE3-8EA1-C676344BB3FF}" dt="2023-09-28T02:27:15.259" v="495" actId="478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Kobayashi, Aoi" userId="ef58220d-27c0-4129-aee6-d47e1f114e2f" providerId="ADAL" clId="{821B1626-A4CC-4AE3-8EA1-C676344BB3FF}" dt="2023-09-28T04:23:21.617" v="1443" actId="20577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821B1626-A4CC-4AE3-8EA1-C676344BB3FF}" dt="2023-09-28T04:18:33.648" v="1061" actId="14100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821B1626-A4CC-4AE3-8EA1-C676344BB3FF}" dt="2023-09-28T04:23:33.915" v="1493" actId="20577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821B1626-A4CC-4AE3-8EA1-C676344BB3FF}" dt="2023-09-28T04:19:21.940" v="1080" actId="14100"/>
          <ac:spMkLst>
            <pc:docMk/>
            <pc:sldMk cId="3623768495" sldId="257"/>
            <ac:spMk id="34" creationId="{DCFFE26D-8815-6B61-D77D-C88D21D4CC2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8" creationId="{EE685479-3F5D-F201-FB0C-4BEFA13AF3C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821B1626-A4CC-4AE3-8EA1-C676344BB3FF}" dt="2023-09-28T04:21:03.241" v="1260" actId="20577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Kobayashi, Aoi" userId="ef58220d-27c0-4129-aee6-d47e1f114e2f" providerId="ADAL" clId="{821B1626-A4CC-4AE3-8EA1-C676344BB3FF}" dt="2023-09-28T04:14:17.463" v="739" actId="14100"/>
          <ac:spMkLst>
            <pc:docMk/>
            <pc:sldMk cId="3623768495" sldId="257"/>
            <ac:spMk id="51" creationId="{7A5B9F25-175E-7B33-5203-D678032CFC51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14:01.182" v="736" actId="478"/>
          <ac:spMkLst>
            <pc:docMk/>
            <pc:sldMk cId="3623768495" sldId="257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19:03.403" v="1078" actId="478"/>
          <ac:spMkLst>
            <pc:docMk/>
            <pc:sldMk cId="3623768495" sldId="257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6" creationId="{70D074C3-4A3C-3B70-F723-79ABB447E15C}"/>
          </ac:spMkLst>
        </pc:spChg>
        <pc:spChg chg="del mod">
          <ac:chgData name="Kobayashi, Aoi" userId="ef58220d-27c0-4129-aee6-d47e1f114e2f" providerId="ADAL" clId="{821B1626-A4CC-4AE3-8EA1-C676344BB3FF}" dt="2023-09-28T04:14:07.269" v="738" actId="478"/>
          <ac:spMkLst>
            <pc:docMk/>
            <pc:sldMk cId="3623768495" sldId="257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14:25.795" v="740" actId="14100"/>
          <ac:spMkLst>
            <pc:docMk/>
            <pc:sldMk cId="3623768495" sldId="257"/>
            <ac:spMk id="58" creationId="{A8B95E82-36C7-8A4E-15F2-49E7C45F54D8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0" creationId="{8BD72447-9413-552A-A1B5-0207CE18AEF7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1" creationId="{9FBF3985-7D26-CD21-B1DE-A608DB322873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3" creationId="{2B0828C2-83C8-AE5A-F739-404D4F04F2FB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4" creationId="{677B827E-6D28-87D0-24DE-78D05D77A27B}"/>
          </ac:spMkLst>
        </pc:spChg>
        <pc:spChg chg="mod">
          <ac:chgData name="Kobayashi, Aoi" userId="ef58220d-27c0-4129-aee6-d47e1f114e2f" providerId="ADAL" clId="{821B1626-A4CC-4AE3-8EA1-C676344BB3FF}" dt="2023-09-28T04:17:47.082" v="973" actId="20577"/>
          <ac:spMkLst>
            <pc:docMk/>
            <pc:sldMk cId="3623768495" sldId="257"/>
            <ac:spMk id="66" creationId="{BB70FF6D-A7DD-1D23-DEB0-A7DFEED79783}"/>
          </ac:spMkLst>
        </pc:spChg>
        <pc:spChg chg="mod">
          <ac:chgData name="Kobayashi, Aoi" userId="ef58220d-27c0-4129-aee6-d47e1f114e2f" providerId="ADAL" clId="{821B1626-A4CC-4AE3-8EA1-C676344BB3FF}" dt="2023-09-28T04:16:45.418" v="869" actId="20577"/>
          <ac:spMkLst>
            <pc:docMk/>
            <pc:sldMk cId="3623768495" sldId="257"/>
            <ac:spMk id="67" creationId="{8141FF00-8FAE-89CC-F263-1FB6572B34E0}"/>
          </ac:spMkLst>
        </pc:s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3" creationId="{442FA6D2-C275-916F-DD15-F07694C64350}"/>
          </ac:grpSpMkLst>
        </pc:gr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821B1626-A4CC-4AE3-8EA1-C676344BB3FF}" dt="2023-09-28T04:13:25.193" v="735" actId="1038"/>
          <ac:grpSpMkLst>
            <pc:docMk/>
            <pc:sldMk cId="3623768495" sldId="257"/>
            <ac:grpSpMk id="14" creationId="{80482075-F8A4-E69D-3FCB-2043C6C12E46}"/>
          </ac:grpSpMkLst>
        </pc:grpChg>
        <pc:grpChg chg="del">
          <ac:chgData name="Kobayashi, Aoi" userId="ef58220d-27c0-4129-aee6-d47e1f114e2f" providerId="ADAL" clId="{821B1626-A4CC-4AE3-8EA1-C676344BB3FF}" dt="2023-09-28T04:15:12.208" v="778" actId="478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821B1626-A4CC-4AE3-8EA1-C676344BB3FF}" dt="2023-09-28T04:19:26.983" v="1117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821B1626-A4CC-4AE3-8EA1-C676344BB3FF}" dt="2023-09-28T04:19:48.416" v="1139" actId="465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821B1626-A4CC-4AE3-8EA1-C676344BB3FF}" dt="2023-09-28T04:19:42.288" v="1138" actId="14100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821B1626-A4CC-4AE3-8EA1-C676344BB3FF}" dt="2023-09-28T02:23:06.784" v="217" actId="14100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2:28:24.616" v="711" actId="571"/>
          <ac:grpSpMkLst>
            <pc:docMk/>
            <pc:sldMk cId="3623768495" sldId="257"/>
            <ac:grpSpMk id="27" creationId="{B81B47EB-8F1D-6A1B-6E6E-3499B53FDBA7}"/>
          </ac:grpSpMkLst>
        </pc:grpChg>
        <pc:grpChg chg="add mod">
          <ac:chgData name="Kobayashi, Aoi" userId="ef58220d-27c0-4129-aee6-d47e1f114e2f" providerId="ADAL" clId="{821B1626-A4CC-4AE3-8EA1-C676344BB3FF}" dt="2023-09-28T04:16:04.534" v="846" actId="571"/>
          <ac:grpSpMkLst>
            <pc:docMk/>
            <pc:sldMk cId="3623768495" sldId="257"/>
            <ac:grpSpMk id="59" creationId="{CF1AAE6A-0A27-C1CA-90DC-6381F2D073DA}"/>
          </ac:grpSpMkLst>
        </pc:grpChg>
        <pc:grpChg chg="add mod">
          <ac:chgData name="Kobayashi, Aoi" userId="ef58220d-27c0-4129-aee6-d47e1f114e2f" providerId="ADAL" clId="{821B1626-A4CC-4AE3-8EA1-C676344BB3FF}" dt="2023-09-28T04:16:04.272" v="845" actId="571"/>
          <ac:grpSpMkLst>
            <pc:docMk/>
            <pc:sldMk cId="3623768495" sldId="257"/>
            <ac:grpSpMk id="62" creationId="{B7C8193B-0D16-C5B4-476E-170D8BBBABF0}"/>
          </ac:grpSpMkLst>
        </pc:grpChg>
        <pc:grpChg chg="add mod">
          <ac:chgData name="Kobayashi, Aoi" userId="ef58220d-27c0-4129-aee6-d47e1f114e2f" providerId="ADAL" clId="{821B1626-A4CC-4AE3-8EA1-C676344BB3FF}" dt="2023-09-28T04:16:11.898" v="847" actId="571"/>
          <ac:grpSpMkLst>
            <pc:docMk/>
            <pc:sldMk cId="3623768495" sldId="257"/>
            <ac:grpSpMk id="65" creationId="{0B697A69-12FA-012C-D41A-4EFBB5A1FADA}"/>
          </ac:grpSpMkLst>
        </pc:grpChg>
      </pc:sldChg>
      <pc:sldChg chg="addSp delSp modSp add mod">
        <pc:chgData name="Kobayashi, Aoi" userId="ef58220d-27c0-4129-aee6-d47e1f114e2f" providerId="ADAL" clId="{821B1626-A4CC-4AE3-8EA1-C676344BB3FF}" dt="2023-09-28T04:29:05.004" v="1919" actId="20577"/>
        <pc:sldMkLst>
          <pc:docMk/>
          <pc:sldMk cId="2776085579" sldId="258"/>
        </pc:sldMkLst>
        <pc:spChg chg="del mod">
          <ac:chgData name="Kobayashi, Aoi" userId="ef58220d-27c0-4129-aee6-d47e1f114e2f" providerId="ADAL" clId="{821B1626-A4CC-4AE3-8EA1-C676344BB3FF}" dt="2023-09-28T04:24:52.315" v="1504" actId="478"/>
          <ac:spMkLst>
            <pc:docMk/>
            <pc:sldMk cId="2776085579" sldId="258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7:26.494" v="1639" actId="113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821B1626-A4CC-4AE3-8EA1-C676344BB3FF}" dt="2023-09-28T04:24:12.418" v="1496" actId="14100"/>
          <ac:spMkLst>
            <pc:docMk/>
            <pc:sldMk cId="2776085579" sldId="258"/>
            <ac:spMk id="5" creationId="{E5D5A7CE-FE3E-7DBC-DB72-ADB5F8CAB6C6}"/>
          </ac:spMkLst>
        </pc:spChg>
        <pc:spChg chg="del mod">
          <ac:chgData name="Kobayashi, Aoi" userId="ef58220d-27c0-4129-aee6-d47e1f114e2f" providerId="ADAL" clId="{821B1626-A4CC-4AE3-8EA1-C676344BB3FF}" dt="2023-09-28T04:27:07.685" v="1636" actId="478"/>
          <ac:spMkLst>
            <pc:docMk/>
            <pc:sldMk cId="2776085579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28:57.664" v="1890" actId="20577"/>
          <ac:spMkLst>
            <pc:docMk/>
            <pc:sldMk cId="2776085579" sldId="258"/>
            <ac:spMk id="8" creationId="{E59311C3-B272-E00A-06B3-BB9BF283EBE0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27:01.266" v="1634" actId="1037"/>
          <ac:spMkLst>
            <pc:docMk/>
            <pc:sldMk cId="2776085579" sldId="258"/>
            <ac:spMk id="12" creationId="{7950EF54-BF0E-B8C3-3663-661E2231A9B9}"/>
          </ac:spMkLst>
        </pc:spChg>
        <pc:spChg chg="del mod">
          <ac:chgData name="Kobayashi, Aoi" userId="ef58220d-27c0-4129-aee6-d47e1f114e2f" providerId="ADAL" clId="{821B1626-A4CC-4AE3-8EA1-C676344BB3FF}" dt="2023-09-28T04:27:09.639" v="1637" actId="478"/>
          <ac:spMkLst>
            <pc:docMk/>
            <pc:sldMk cId="2776085579" sldId="258"/>
            <ac:spMk id="13" creationId="{F1EC8D81-9769-214E-4F12-B700FE62FDA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0" creationId="{7C1E094B-288B-12F7-051D-9960C0C5D76E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1" creationId="{E10E0497-950E-CA6C-B131-0710C617B25C}"/>
          </ac:spMkLst>
        </pc:spChg>
        <pc:spChg chg="del">
          <ac:chgData name="Kobayashi, Aoi" userId="ef58220d-27c0-4129-aee6-d47e1f114e2f" providerId="ADAL" clId="{821B1626-A4CC-4AE3-8EA1-C676344BB3FF}" dt="2023-09-28T04:25:35.468" v="1536" actId="478"/>
          <ac:spMkLst>
            <pc:docMk/>
            <pc:sldMk cId="2776085579" sldId="258"/>
            <ac:spMk id="26" creationId="{8B80550C-3137-BAEB-2518-2F49F11C63BA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8" creationId="{EE685479-3F5D-F201-FB0C-4BEFA13AF3C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9" creationId="{3C0A55CC-C35C-1DD1-5273-5E67309692D6}"/>
          </ac:spMkLst>
        </pc:spChg>
        <pc:spChg chg="del mod">
          <ac:chgData name="Kobayashi, Aoi" userId="ef58220d-27c0-4129-aee6-d47e1f114e2f" providerId="ADAL" clId="{821B1626-A4CC-4AE3-8EA1-C676344BB3FF}" dt="2023-09-28T04:24:46.525" v="1501" actId="478"/>
          <ac:spMkLst>
            <pc:docMk/>
            <pc:sldMk cId="2776085579" sldId="258"/>
            <ac:spMk id="44" creationId="{234FA5C0-E8E3-8E6A-3B45-8CCF457AE077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12.935" v="1533" actId="478"/>
          <ac:spMkLst>
            <pc:docMk/>
            <pc:sldMk cId="2776085579" sldId="258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27:06.113" v="1635" actId="478"/>
          <ac:spMkLst>
            <pc:docMk/>
            <pc:sldMk cId="2776085579" sldId="258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3:48.940" v="1494" actId="478"/>
          <ac:spMkLst>
            <pc:docMk/>
            <pc:sldMk cId="2776085579" sldId="258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6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29.320" v="1534" actId="478"/>
          <ac:spMkLst>
            <pc:docMk/>
            <pc:sldMk cId="2776085579" sldId="258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9:05.004" v="1919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Kobayashi, Aoi" userId="ef58220d-27c0-4129-aee6-d47e1f114e2f" providerId="ADAL" clId="{821B1626-A4CC-4AE3-8EA1-C676344BB3FF}" dt="2023-09-28T04:26:42.592" v="1605" actId="14100"/>
          <ac:spMkLst>
            <pc:docMk/>
            <pc:sldMk cId="2776085579" sldId="258"/>
            <ac:spMk id="59" creationId="{1C123FBE-1587-E01F-254D-8210C1044DE2}"/>
          </ac:spMkLst>
        </pc:spChg>
        <pc:grpChg chg="mod">
          <ac:chgData name="Kobayashi, Aoi" userId="ef58220d-27c0-4129-aee6-d47e1f114e2f" providerId="ADAL" clId="{821B1626-A4CC-4AE3-8EA1-C676344BB3FF}" dt="2023-09-28T04:25:01.484" v="1530" actId="1037"/>
          <ac:grpSpMkLst>
            <pc:docMk/>
            <pc:sldMk cId="2776085579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821B1626-A4CC-4AE3-8EA1-C676344BB3FF}" dt="2023-09-28T02:11:10.500" v="69" actId="1038"/>
          <ac:grpSpMkLst>
            <pc:docMk/>
            <pc:sldMk cId="2776085579" sldId="258"/>
            <ac:grpSpMk id="7" creationId="{169B776D-3E1F-783C-6270-2B216FE85F4F}"/>
          </ac:grpSpMkLst>
        </pc:grpChg>
        <pc:grpChg chg="del">
          <ac:chgData name="Kobayashi, Aoi" userId="ef58220d-27c0-4129-aee6-d47e1f114e2f" providerId="ADAL" clId="{821B1626-A4CC-4AE3-8EA1-C676344BB3FF}" dt="2023-09-28T04:25:33.141" v="1535" actId="478"/>
          <ac:grpSpMkLst>
            <pc:docMk/>
            <pc:sldMk cId="2776085579" sldId="258"/>
            <ac:grpSpMk id="15" creationId="{A5956028-0FD9-AFE5-11B3-98A7A60A9F05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6" creationId="{9EBDF3EA-82D3-8FC7-0ABB-C5E76C178DBE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7" creationId="{38CD38FD-A48C-4FBB-C2D2-0446D490C640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8" creationId="{8D6EA6B2-94E0-64A2-104E-18A81CA5B547}"/>
          </ac:grpSpMkLst>
        </pc:grpChg>
        <pc:grpChg chg="del">
          <ac:chgData name="Kobayashi, Aoi" userId="ef58220d-27c0-4129-aee6-d47e1f114e2f" providerId="ADAL" clId="{821B1626-A4CC-4AE3-8EA1-C676344BB3FF}" dt="2023-09-28T02:10:51.694" v="1" actId="478"/>
          <ac:grpSpMkLst>
            <pc:docMk/>
            <pc:sldMk cId="2776085579" sldId="258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4:26:16.327" v="1542" actId="1076"/>
          <ac:grpSpMkLst>
            <pc:docMk/>
            <pc:sldMk cId="2776085579" sldId="258"/>
            <ac:grpSpMk id="51" creationId="{80DEC1E0-FBEA-E21A-CD04-F0E6AAAF3598}"/>
          </ac:grpSpMkLst>
        </pc:grpChg>
      </pc:sldChg>
      <pc:sldMasterChg chg="modSp mod addSldLayout delSldLayout modSldLayout">
        <pc:chgData name="Kobayashi, Aoi" userId="ef58220d-27c0-4129-aee6-d47e1f114e2f" providerId="ADAL" clId="{821B1626-A4CC-4AE3-8EA1-C676344BB3FF}" dt="2023-09-28T04:22:24.591" v="1288" actId="1076"/>
        <pc:sldMasterMkLst>
          <pc:docMk/>
          <pc:sldMasterMk cId="2909573340" sldId="2147483674"/>
        </pc:sldMasterMkLst>
        <pc:spChg chg="mod">
          <ac:chgData name="Kobayashi, Aoi" userId="ef58220d-27c0-4129-aee6-d47e1f114e2f" providerId="ADAL" clId="{821B1626-A4CC-4AE3-8EA1-C676344BB3FF}" dt="2023-09-28T04:22:24.591" v="1288" actId="1076"/>
          <ac:spMkLst>
            <pc:docMk/>
            <pc:sldMasterMk cId="2909573340" sldId="2147483674"/>
            <ac:spMk id="6" creationId="{00000000-0000-0000-0000-000000000000}"/>
          </ac:spMkLst>
        </pc:spChg>
        <pc:sldLayoutChg chg="del">
          <pc:chgData name="Kobayashi, Aoi" userId="ef58220d-27c0-4129-aee6-d47e1f114e2f" providerId="ADAL" clId="{821B1626-A4CC-4AE3-8EA1-C676344BB3FF}" dt="2023-09-28T04:21:42.413" v="1261" actId="2696"/>
          <pc:sldLayoutMkLst>
            <pc:docMk/>
            <pc:sldMasterMk cId="2909573340" sldId="2147483674"/>
            <pc:sldLayoutMk cId="3859772569" sldId="2147483675"/>
          </pc:sldLayoutMkLst>
        </pc:sldLayoutChg>
        <pc:sldLayoutChg chg="del">
          <pc:chgData name="Kobayashi, Aoi" userId="ef58220d-27c0-4129-aee6-d47e1f114e2f" providerId="ADAL" clId="{821B1626-A4CC-4AE3-8EA1-C676344BB3FF}" dt="2023-09-28T04:21:50.894" v="1277" actId="2696"/>
          <pc:sldLayoutMkLst>
            <pc:docMk/>
            <pc:sldMasterMk cId="2909573340" sldId="2147483674"/>
            <pc:sldLayoutMk cId="4153619603" sldId="2147483676"/>
          </pc:sldLayoutMkLst>
        </pc:sldLayoutChg>
        <pc:sldLayoutChg chg="del">
          <pc:chgData name="Kobayashi, Aoi" userId="ef58220d-27c0-4129-aee6-d47e1f114e2f" providerId="ADAL" clId="{821B1626-A4CC-4AE3-8EA1-C676344BB3FF}" dt="2023-09-28T04:21:51.382" v="1278" actId="2696"/>
          <pc:sldLayoutMkLst>
            <pc:docMk/>
            <pc:sldMasterMk cId="2909573340" sldId="2147483674"/>
            <pc:sldLayoutMk cId="2054967758" sldId="2147483677"/>
          </pc:sldLayoutMkLst>
        </pc:sldLayoutChg>
        <pc:sldLayoutChg chg="del">
          <pc:chgData name="Kobayashi, Aoi" userId="ef58220d-27c0-4129-aee6-d47e1f114e2f" providerId="ADAL" clId="{821B1626-A4CC-4AE3-8EA1-C676344BB3FF}" dt="2023-09-28T04:21:51.449" v="1279" actId="2696"/>
          <pc:sldLayoutMkLst>
            <pc:docMk/>
            <pc:sldMasterMk cId="2909573340" sldId="2147483674"/>
            <pc:sldLayoutMk cId="915972220" sldId="2147483678"/>
          </pc:sldLayoutMkLst>
        </pc:sldLayoutChg>
        <pc:sldLayoutChg chg="del">
          <pc:chgData name="Kobayashi, Aoi" userId="ef58220d-27c0-4129-aee6-d47e1f114e2f" providerId="ADAL" clId="{821B1626-A4CC-4AE3-8EA1-C676344BB3FF}" dt="2023-09-28T04:21:51.478" v="1280" actId="2696"/>
          <pc:sldLayoutMkLst>
            <pc:docMk/>
            <pc:sldMasterMk cId="2909573340" sldId="2147483674"/>
            <pc:sldLayoutMk cId="592291135" sldId="2147483679"/>
          </pc:sldLayoutMkLst>
        </pc:sldLayoutChg>
        <pc:sldLayoutChg chg="del">
          <pc:chgData name="Kobayashi, Aoi" userId="ef58220d-27c0-4129-aee6-d47e1f114e2f" providerId="ADAL" clId="{821B1626-A4CC-4AE3-8EA1-C676344BB3FF}" dt="2023-09-28T04:21:51.497" v="1281" actId="2696"/>
          <pc:sldLayoutMkLst>
            <pc:docMk/>
            <pc:sldMasterMk cId="2909573340" sldId="2147483674"/>
            <pc:sldLayoutMk cId="4007254559" sldId="2147483680"/>
          </pc:sldLayoutMkLst>
        </pc:sldLayoutChg>
        <pc:sldLayoutChg chg="del">
          <pc:chgData name="Kobayashi, Aoi" userId="ef58220d-27c0-4129-aee6-d47e1f114e2f" providerId="ADAL" clId="{821B1626-A4CC-4AE3-8EA1-C676344BB3FF}" dt="2023-09-28T04:21:44.302" v="1272" actId="2696"/>
          <pc:sldLayoutMkLst>
            <pc:docMk/>
            <pc:sldMasterMk cId="2909573340" sldId="2147483674"/>
            <pc:sldLayoutMk cId="3796716451" sldId="2147483681"/>
          </pc:sldLayoutMkLst>
        </pc:sldLayoutChg>
        <pc:sldLayoutChg chg="del">
          <pc:chgData name="Kobayashi, Aoi" userId="ef58220d-27c0-4129-aee6-d47e1f114e2f" providerId="ADAL" clId="{821B1626-A4CC-4AE3-8EA1-C676344BB3FF}" dt="2023-09-28T04:21:44.789" v="1273" actId="2696"/>
          <pc:sldLayoutMkLst>
            <pc:docMk/>
            <pc:sldMasterMk cId="2909573340" sldId="2147483674"/>
            <pc:sldLayoutMk cId="348420257" sldId="2147483682"/>
          </pc:sldLayoutMkLst>
        </pc:sldLayoutChg>
        <pc:sldLayoutChg chg="del">
          <pc:chgData name="Kobayashi, Aoi" userId="ef58220d-27c0-4129-aee6-d47e1f114e2f" providerId="ADAL" clId="{821B1626-A4CC-4AE3-8EA1-C676344BB3FF}" dt="2023-09-28T04:21:44.841" v="1274" actId="2696"/>
          <pc:sldLayoutMkLst>
            <pc:docMk/>
            <pc:sldMasterMk cId="2909573340" sldId="2147483674"/>
            <pc:sldLayoutMk cId="523608177" sldId="2147483683"/>
          </pc:sldLayoutMkLst>
        </pc:sldLayoutChg>
        <pc:sldLayoutChg chg="del">
          <pc:chgData name="Kobayashi, Aoi" userId="ef58220d-27c0-4129-aee6-d47e1f114e2f" providerId="ADAL" clId="{821B1626-A4CC-4AE3-8EA1-C676344BB3FF}" dt="2023-09-28T04:21:44.870" v="1275" actId="2696"/>
          <pc:sldLayoutMkLst>
            <pc:docMk/>
            <pc:sldMasterMk cId="2909573340" sldId="2147483674"/>
            <pc:sldLayoutMk cId="2426156467" sldId="2147483684"/>
          </pc:sldLayoutMkLst>
        </pc:sldLayoutChg>
        <pc:sldLayoutChg chg="del">
          <pc:chgData name="Kobayashi, Aoi" userId="ef58220d-27c0-4129-aee6-d47e1f114e2f" providerId="ADAL" clId="{821B1626-A4CC-4AE3-8EA1-C676344BB3FF}" dt="2023-09-28T04:21:44.903" v="1276" actId="2696"/>
          <pc:sldLayoutMkLst>
            <pc:docMk/>
            <pc:sldMasterMk cId="2909573340" sldId="2147483674"/>
            <pc:sldLayoutMk cId="3791518546" sldId="2147483685"/>
          </pc:sldLayoutMkLst>
        </pc:sldLayoutChg>
        <pc:sldLayoutChg chg="modSp mod">
          <pc:chgData name="Kobayashi, Aoi" userId="ef58220d-27c0-4129-aee6-d47e1f114e2f" providerId="ADAL" clId="{821B1626-A4CC-4AE3-8EA1-C676344BB3FF}" dt="2023-09-28T04:22:08.382" v="1284" actId="1076"/>
          <pc:sldLayoutMkLst>
            <pc:docMk/>
            <pc:sldMasterMk cId="2909573340" sldId="2147483674"/>
            <pc:sldLayoutMk cId="697389559" sldId="2147483686"/>
          </pc:sldLayoutMkLst>
          <pc:spChg chg="mod">
            <ac:chgData name="Kobayashi, Aoi" userId="ef58220d-27c0-4129-aee6-d47e1f114e2f" providerId="ADAL" clId="{821B1626-A4CC-4AE3-8EA1-C676344BB3FF}" dt="2023-09-28T04:22:08.382" v="1284" actId="1076"/>
            <ac:spMkLst>
              <pc:docMk/>
              <pc:sldMasterMk cId="2909573340" sldId="2147483674"/>
              <pc:sldLayoutMk cId="697389559" sldId="2147483686"/>
              <ac:spMk id="4" creationId="{00000000-0000-0000-0000-000000000000}"/>
            </ac:spMkLst>
          </pc:spChg>
        </pc:sldLayoutChg>
        <pc:sldLayoutChg chg="new del mod">
          <pc:chgData name="Kobayashi, Aoi" userId="ef58220d-27c0-4129-aee6-d47e1f114e2f" providerId="ADAL" clId="{821B1626-A4CC-4AE3-8EA1-C676344BB3FF}" dt="2023-09-28T04:21:44.043" v="1271" actId="2696"/>
          <pc:sldLayoutMkLst>
            <pc:docMk/>
            <pc:sldMasterMk cId="2909573340" sldId="2147483674"/>
            <pc:sldLayoutMk cId="165011099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506" v="1267" actId="2696"/>
          <pc:sldLayoutMkLst>
            <pc:docMk/>
            <pc:sldMasterMk cId="2909573340" sldId="2147483674"/>
            <pc:sldLayoutMk cId="2998191897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2.930" v="1263" actId="2696"/>
          <pc:sldLayoutMkLst>
            <pc:docMk/>
            <pc:sldMasterMk cId="2909573340" sldId="2147483674"/>
            <pc:sldLayoutMk cId="346289818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776" v="1269" actId="2696"/>
          <pc:sldLayoutMkLst>
            <pc:docMk/>
            <pc:sldMasterMk cId="2909573340" sldId="2147483674"/>
            <pc:sldLayoutMk cId="3619254673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249" v="1265" actId="2696"/>
          <pc:sldLayoutMkLst>
            <pc:docMk/>
            <pc:sldMasterMk cId="2909573340" sldId="2147483674"/>
            <pc:sldLayoutMk cId="3777634298" sldId="2147483687"/>
          </pc:sldLayoutMkLst>
        </pc:sldLayoutChg>
      </pc:sldMasterChg>
    </pc:docChg>
  </pc:docChgLst>
  <pc:docChgLst>
    <pc:chgData name="Ishii, Yuka" userId="3ba63dc6-6e55-475b-be6b-cac8d79da101" providerId="ADAL" clId="{60F03901-7192-42DA-91DA-77990123A64E}"/>
    <pc:docChg chg="undo custSel modSld">
      <pc:chgData name="Ishii, Yuka" userId="3ba63dc6-6e55-475b-be6b-cac8d79da101" providerId="ADAL" clId="{60F03901-7192-42DA-91DA-77990123A64E}" dt="2023-09-12T02:09:04.145" v="216" actId="20577"/>
      <pc:docMkLst>
        <pc:docMk/>
      </pc:docMkLst>
      <pc:sldChg chg="addSp delSp modSp mod">
        <pc:chgData name="Ishii, Yuka" userId="3ba63dc6-6e55-475b-be6b-cac8d79da101" providerId="ADAL" clId="{60F03901-7192-42DA-91DA-77990123A64E}" dt="2023-09-12T02:09:00.009" v="20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0F03901-7192-42DA-91DA-77990123A64E}" dt="2023-09-12T00:29:04.780" v="2" actId="478"/>
          <ac:spMkLst>
            <pc:docMk/>
            <pc:sldMk cId="3623768495" sldId="257"/>
            <ac:spMk id="2" creationId="{7B4E4B8D-733B-3A83-F0CD-B34F026388FC}"/>
          </ac:spMkLst>
        </pc:spChg>
        <pc:spChg chg="del mod">
          <ac:chgData name="Ishii, Yuka" userId="3ba63dc6-6e55-475b-be6b-cac8d79da101" providerId="ADAL" clId="{60F03901-7192-42DA-91DA-77990123A64E}" dt="2023-09-12T02:06:25.810" v="135" actId="47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Ishii, Yuka" userId="3ba63dc6-6e55-475b-be6b-cac8d79da101" providerId="ADAL" clId="{60F03901-7192-42DA-91DA-77990123A64E}" dt="2023-09-12T02:09:00.009" v="207" actId="20577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0F03901-7192-42DA-91DA-77990123A64E}" dt="2023-09-12T02:04:29.937" v="74" actId="14100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0F03901-7192-42DA-91DA-77990123A64E}" dt="2023-09-12T02:07:58.629" v="187" actId="25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0F03901-7192-42DA-91DA-77990123A64E}" dt="2023-09-12T02:08:14.966" v="191" actId="14100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0F03901-7192-42DA-91DA-77990123A64E}" dt="2023-09-12T02:08:37.754" v="197" actId="14100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Ishii, Yuka" userId="3ba63dc6-6e55-475b-be6b-cac8d79da101" providerId="ADAL" clId="{60F03901-7192-42DA-91DA-77990123A64E}" dt="2023-09-12T02:08:20.112" v="192" actId="255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Ishii, Yuka" userId="3ba63dc6-6e55-475b-be6b-cac8d79da101" providerId="ADAL" clId="{60F03901-7192-42DA-91DA-77990123A64E}" dt="2023-09-12T02:08:29.867" v="195" actId="255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Ishii, Yuka" userId="3ba63dc6-6e55-475b-be6b-cac8d79da101" providerId="ADAL" clId="{60F03901-7192-42DA-91DA-77990123A64E}" dt="2023-09-12T02:07:47.399" v="186" actId="255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Ishii, Yuka" userId="3ba63dc6-6e55-475b-be6b-cac8d79da101" providerId="ADAL" clId="{60F03901-7192-42DA-91DA-77990123A64E}" dt="2023-09-12T02:08:23.344" v="193" actId="255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Ishii, Yuka" userId="3ba63dc6-6e55-475b-be6b-cac8d79da101" providerId="ADAL" clId="{60F03901-7192-42DA-91DA-77990123A64E}" dt="2023-09-12T02:08:26.436" v="194" actId="255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6" creationId="{6832629B-D73B-216E-50B7-74568BED9B2D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7" creationId="{ED421858-35F0-1443-F0FD-DE78366EF8E2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Ishii, Yuka" userId="3ba63dc6-6e55-475b-be6b-cac8d79da101" providerId="ADAL" clId="{60F03901-7192-42DA-91DA-77990123A64E}" dt="2023-09-12T02:07:43.210" v="185" actId="14100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2" creationId="{3D55598D-E333-3406-D3A8-8DB163ACA43A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3" creationId="{410B9A7F-784F-AF2F-8AA6-0C4C8E44ECD3}"/>
          </ac:spMkLst>
        </pc:spChg>
        <pc:spChg chg="mod">
          <ac:chgData name="Ishii, Yuka" userId="3ba63dc6-6e55-475b-be6b-cac8d79da101" providerId="ADAL" clId="{60F03901-7192-42DA-91DA-77990123A64E}" dt="2023-09-12T02:07:33.308" v="183" actId="255"/>
          <ac:spMkLst>
            <pc:docMk/>
            <pc:sldMk cId="3623768495" sldId="257"/>
            <ac:spMk id="44" creationId="{234FA5C0-E8E3-8E6A-3B45-8CCF457AE077}"/>
          </ac:spMkLst>
        </pc:spChg>
        <pc:spChg chg="mod ord">
          <ac:chgData name="Ishii, Yuka" userId="3ba63dc6-6e55-475b-be6b-cac8d79da101" providerId="ADAL" clId="{60F03901-7192-42DA-91DA-77990123A64E}" dt="2023-09-12T02:07:25.709" v="182" actId="166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6" creationId="{93ECBE5C-808F-1F14-8FDA-4E454C40B7F5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7" creationId="{A8D928E9-D78A-54F4-4861-6E52A02B4B98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8" creationId="{BD3723BE-2348-2841-9225-ADDC75D27D89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9" creationId="{DA0375DC-2D51-30E3-D1FA-6F8E049091C5}"/>
          </ac:spMkLst>
        </pc:spChg>
        <pc:spChg chg="add mod">
          <ac:chgData name="Ishii, Yuka" userId="3ba63dc6-6e55-475b-be6b-cac8d79da101" providerId="ADAL" clId="{60F03901-7192-42DA-91DA-77990123A64E}" dt="2023-09-12T02:07:16.603" v="180" actId="1038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Ishii, Yuka" userId="3ba63dc6-6e55-475b-be6b-cac8d79da101" providerId="ADAL" clId="{60F03901-7192-42DA-91DA-77990123A64E}" dt="2023-09-12T02:05:37.268" v="99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0F03901-7192-42DA-91DA-77990123A64E}" dt="2023-09-12T02:05:55.875" v="116" actId="20577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0F03901-7192-42DA-91DA-77990123A64E}" dt="2023-09-12T02:06:03.179" v="134" actId="20577"/>
          <ac:spMkLst>
            <pc:docMk/>
            <pc:sldMk cId="3623768495" sldId="257"/>
            <ac:spMk id="87" creationId="{3CAA6A7C-897C-188A-E071-CD3CE444DE91}"/>
          </ac:spMkLst>
        </pc:s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3" creationId="{442FA6D2-C275-916F-DD15-F07694C64350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7" creationId="{169B776D-3E1F-783C-6270-2B216FE85F4F}"/>
          </ac:grpSpMkLst>
        </pc:grpChg>
        <pc:grpChg chg="del mod">
          <ac:chgData name="Ishii, Yuka" userId="3ba63dc6-6e55-475b-be6b-cac8d79da101" providerId="ADAL" clId="{60F03901-7192-42DA-91DA-77990123A64E}" dt="2023-09-12T02:06:25.810" v="135" actId="478"/>
          <ac:grpSpMkLst>
            <pc:docMk/>
            <pc:sldMk cId="3623768495" sldId="257"/>
            <ac:grpSpMk id="14" creationId="{CB071591-E206-AA37-DC77-9E8F93375C03}"/>
          </ac:grpSpMkLst>
        </pc:grpChg>
        <pc:grpChg chg="mod">
          <ac:chgData name="Ishii, Yuka" userId="3ba63dc6-6e55-475b-be6b-cac8d79da101" providerId="ADAL" clId="{60F03901-7192-42DA-91DA-77990123A64E}" dt="2023-09-12T02:04:38.290" v="76" actId="14100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Ishii, Yuka" userId="3ba63dc6-6e55-475b-be6b-cac8d79da101" providerId="ADAL" clId="{60F03901-7192-42DA-91DA-77990123A64E}" dt="2023-09-12T02:07:12.612" v="172" actId="14100"/>
          <ac:grpSpMkLst>
            <pc:docMk/>
            <pc:sldMk cId="3623768495" sldId="257"/>
            <ac:grpSpMk id="28" creationId="{3000940D-DE7F-6809-3BEE-B540827F00B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29" creationId="{88A7870A-A3EF-D815-91A0-6EE353211F6F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0" creationId="{5386C17D-209D-848E-05A1-A35B8CB26F7C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5" creationId="{0CE88530-5F71-1991-2A90-3262B95AEFE9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0" creationId="{4D8EAB21-8264-EC75-78AF-F7BC4ED10E4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1" creationId="{455ED7F2-DDE7-B3B1-2600-C661A97869ED}"/>
          </ac:grpSpMkLst>
        </pc:grpChg>
      </pc:sldChg>
      <pc:sldChg chg="modSp mod">
        <pc:chgData name="Ishii, Yuka" userId="3ba63dc6-6e55-475b-be6b-cac8d79da101" providerId="ADAL" clId="{60F03901-7192-42DA-91DA-77990123A64E}" dt="2023-09-12T02:09:04.145" v="216" actId="20577"/>
        <pc:sldMkLst>
          <pc:docMk/>
          <pc:sldMk cId="665979446" sldId="259"/>
        </pc:sldMkLst>
        <pc:spChg chg="mod">
          <ac:chgData name="Ishii, Yuka" userId="3ba63dc6-6e55-475b-be6b-cac8d79da101" providerId="ADAL" clId="{60F03901-7192-42DA-91DA-77990123A64E}" dt="2023-09-12T02:09:04.145" v="216" actId="20577"/>
          <ac:spMkLst>
            <pc:docMk/>
            <pc:sldMk cId="665979446" sldId="259"/>
            <ac:spMk id="47" creationId="{2D2DCDBF-E8D4-10E9-A343-77AFDA0DBDFE}"/>
          </ac:spMkLst>
        </pc:spChg>
      </pc:sldChg>
    </pc:docChg>
  </pc:docChgLst>
  <pc:docChgLst>
    <pc:chgData name="Kobayashi, Aoi" userId="ef58220d-27c0-4129-aee6-d47e1f114e2f" providerId="ADAL" clId="{D3A09B73-12B4-4C9B-9D0D-32056B821987}"/>
    <pc:docChg chg="undo custSel addSld delSld modSld sldOrd modMainMaster addSection modSection modNotesMaster">
      <pc:chgData name="Kobayashi, Aoi" userId="ef58220d-27c0-4129-aee6-d47e1f114e2f" providerId="ADAL" clId="{D3A09B73-12B4-4C9B-9D0D-32056B821987}" dt="2023-09-12T11:03:26.301" v="240" actId="17846"/>
      <pc:docMkLst>
        <pc:docMk/>
      </pc:docMkLst>
      <pc:sldChg chg="addSp modSp add del mod ord modShow">
        <pc:chgData name="Kobayashi, Aoi" userId="ef58220d-27c0-4129-aee6-d47e1f114e2f" providerId="ADAL" clId="{D3A09B73-12B4-4C9B-9D0D-32056B821987}" dt="2023-09-12T08:48:07.553" v="238" actId="729"/>
        <pc:sldMkLst>
          <pc:docMk/>
          <pc:sldMk cId="4217518824" sldId="256"/>
        </pc:sldMkLst>
        <pc:spChg chg="add mod">
          <ac:chgData name="Kobayashi, Aoi" userId="ef58220d-27c0-4129-aee6-d47e1f114e2f" providerId="ADAL" clId="{D3A09B73-12B4-4C9B-9D0D-32056B821987}" dt="2023-09-12T01:10:42.440" v="235" actId="20577"/>
          <ac:spMkLst>
            <pc:docMk/>
            <pc:sldMk cId="4217518824" sldId="256"/>
            <ac:spMk id="2" creationId="{9AA6F127-01F4-F91E-CFDD-3E07BEF16CE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6" creationId="{0D44A8D9-4B00-38EE-D4FD-AB2A3E982FCD}"/>
          </ac:grpSpMkLst>
        </pc:grpChg>
        <pc:graphicFrameChg chg="mod">
          <ac:chgData name="Kobayashi, Aoi" userId="ef58220d-27c0-4129-aee6-d47e1f114e2f" providerId="ADAL" clId="{D3A09B73-12B4-4C9B-9D0D-32056B821987}" dt="2023-09-12T01:08:13.403" v="208"/>
          <ac:graphicFrameMkLst>
            <pc:docMk/>
            <pc:sldMk cId="4217518824" sldId="256"/>
            <ac:graphicFrameMk id="58" creationId="{8A53748E-D9A4-453C-95D6-9A4C63AE223E}"/>
          </ac:graphicFrameMkLst>
        </pc:graphicFrameChg>
      </pc:sldChg>
      <pc:sldChg chg="addSp modSp mod ord modNotes">
        <pc:chgData name="Kobayashi, Aoi" userId="ef58220d-27c0-4129-aee6-d47e1f114e2f" providerId="ADAL" clId="{D3A09B73-12B4-4C9B-9D0D-32056B821987}" dt="2023-09-12T01:10:36.592" v="231"/>
        <pc:sldMkLst>
          <pc:docMk/>
          <pc:sldMk cId="3623768495" sldId="257"/>
        </pc:sldMkLst>
        <pc:spChg chg="add 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6" creationId="{8B80550C-3137-BAEB-2518-2F49F11C63BA}"/>
          </ac:spMkLst>
        </pc:spChg>
        <pc:spChg chg="add mod">
          <ac:chgData name="Kobayashi, Aoi" userId="ef58220d-27c0-4129-aee6-d47e1f114e2f" providerId="ADAL" clId="{D3A09B73-12B4-4C9B-9D0D-32056B821987}" dt="2023-09-12T01:10:36.592" v="231"/>
          <ac:spMkLst>
            <pc:docMk/>
            <pc:sldMk cId="3623768495" sldId="257"/>
            <ac:spMk id="27" creationId="{812F9E69-2D09-709A-49EF-33BA21D8131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7" creationId="{3CAA6A7C-897C-188A-E071-CD3CE444DE91}"/>
          </ac:spMkLst>
        </pc:s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3" creationId="{442FA6D2-C275-916F-DD15-F07694C6435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4" creationId="{CB071591-E206-AA37-DC77-9E8F93375C03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5" creationId="{A5956028-0FD9-AFE5-11B3-98A7A60A9F05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6" creationId="{9EBDF3EA-82D3-8FC7-0ABB-C5E76C178DBE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7" creationId="{38CD38FD-A48C-4FBB-C2D2-0446D490C64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8" creationId="{8D6EA6B2-94E0-64A2-104E-18A81CA5B547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9" creationId="{D6B8F486-0EE2-C35D-8BC3-A9E2D0B74C53}"/>
          </ac:grpSpMkLst>
        </pc:grpChg>
      </pc:sldChg>
      <pc:sldChg chg="modSp add del modNotes">
        <pc:chgData name="Kobayashi, Aoi" userId="ef58220d-27c0-4129-aee6-d47e1f114e2f" providerId="ADAL" clId="{D3A09B73-12B4-4C9B-9D0D-32056B821987}" dt="2023-09-12T01:10:48.785" v="236" actId="2696"/>
        <pc:sldMkLst>
          <pc:docMk/>
          <pc:sldMk cId="946310680" sldId="258"/>
        </pc:sld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6" creationId="{8B80550C-3137-BAEB-2518-2F49F11C63B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7" creationId="{3CAA6A7C-897C-188A-E071-CD3CE444DE91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7" creationId="{169B776D-3E1F-783C-6270-2B216FE85F4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4" creationId="{CB071591-E206-AA37-DC77-9E8F93375C0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9" creationId="{D6B8F486-0EE2-C35D-8BC3-A9E2D0B74C53}"/>
          </ac:grpSpMkLst>
        </pc:grpChg>
      </pc:sldChg>
      <pc:sldChg chg="addSp modSp add del mod ord modShow">
        <pc:chgData name="Kobayashi, Aoi" userId="ef58220d-27c0-4129-aee6-d47e1f114e2f" providerId="ADAL" clId="{D3A09B73-12B4-4C9B-9D0D-32056B821987}" dt="2023-09-12T08:48:04.373" v="237" actId="729"/>
        <pc:sldMkLst>
          <pc:docMk/>
          <pc:sldMk cId="665979446" sldId="259"/>
        </pc:sldMkLst>
        <pc:spChg chg="add mod">
          <ac:chgData name="Kobayashi, Aoi" userId="ef58220d-27c0-4129-aee6-d47e1f114e2f" providerId="ADAL" clId="{D3A09B73-12B4-4C9B-9D0D-32056B821987}" dt="2023-09-12T01:10:39.354" v="233" actId="20577"/>
          <ac:spMkLst>
            <pc:docMk/>
            <pc:sldMk cId="665979446" sldId="259"/>
            <ac:spMk id="3" creationId="{E2C3ADF6-C8F5-8955-9BB8-093FCC0F6B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0" creationId="{A5C09DC5-2CD2-98A6-B967-97877AC280F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2" creationId="{EB9B4D74-9F02-A734-8333-0A6044EC5D3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3" creationId="{7F7BAF80-8231-7579-17FA-71D8336433D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4" creationId="{0BD99915-DB88-734B-67DE-D772A225A58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8" creationId="{D5C018F8-7E89-4412-4BB9-CC9A79097AE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8" creationId="{AA11F1E8-83E7-474A-6968-6C8A4FBB3D4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9" creationId="{DE32E89C-245E-7793-DE10-DF2F22F2153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1" creationId="{19CFC668-5570-471D-AF90-193AA0CE7B8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4" creationId="{14939121-861A-E39E-4033-35135F26690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5" creationId="{4F00B219-E94B-1ACA-D9AB-01E4739C88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6" creationId="{4586C426-990E-6BC8-2337-EEF2A5BC45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8" creationId="{CB6288B1-B52A-88CA-950E-84FC829A538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9" creationId="{2351C219-82CE-92D3-5344-FFC1A65A583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1" creationId="{46B8841B-7E1B-69DA-B50C-E13366FB9CD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2" creationId="{8975F81A-F946-B699-9D8E-8C8262F604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3" creationId="{C97204D9-1E62-79E6-72E4-35B4689387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4" creationId="{4772C88F-19F9-3492-870F-6907C099164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6" creationId="{91631E9B-453B-86E7-ED4B-26A47263E8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7" creationId="{2D2DCDBF-E8D4-10E9-A343-77AFDA0DBDF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8" creationId="{B15FE2E2-D7DA-3003-F659-07311A4BC5D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2" creationId="{1F7E5D6B-4A7A-4A07-D3D1-EB76F2F84F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11" creationId="{F9A0D180-800F-A0D1-33DF-F6E95245590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0" creationId="{B8FC97E2-7E54-7377-23D3-3913226FF27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3" creationId="{B2EC8D34-C44B-EC65-2514-D831B1C4F3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7" creationId="{343EF850-7234-226F-ACC9-3E2AE03E6D5C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0" creationId="{C40F51BB-20C8-834E-2177-C66F83B8B8C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5" creationId="{A6B30907-FE01-B549-5DAD-F44CB3A61191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6" creationId="{0D44A8D9-4B00-38EE-D4FD-AB2A3E982FCD}"/>
          </ac:grpSpMkLst>
        </pc:grpChg>
      </pc:sldChg>
      <pc:sldMasterChg chg="modSp modSldLayout">
        <pc:chgData name="Kobayashi, Aoi" userId="ef58220d-27c0-4129-aee6-d47e1f114e2f" providerId="ADAL" clId="{D3A09B73-12B4-4C9B-9D0D-32056B821987}" dt="2023-09-12T01:08:13.403" v="208"/>
        <pc:sldMasterMkLst>
          <pc:docMk/>
          <pc:sldMasterMk cId="2615484843" sldId="2147483648"/>
        </pc:sldMaster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2" creationId="{BC1BA79D-71A4-C399-8883-8F3ECF6E27E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3" creationId="{37FF2010-3B41-ED7D-2A17-17DBF7585DD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4" creationId="{D03E1BFB-B55E-8ADD-1303-F721FB57AE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5" creationId="{AFCAFD30-9487-081C-CB6F-6539EA3B4F9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6" creationId="{6D295003-F551-F606-0EFF-6894471ED3A2}"/>
          </ac:spMkLst>
        </pc:sp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34221307" sldId="214748364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2" creationId="{167D3204-9B59-C9F6-9416-308A4729C8A1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3" creationId="{3BC41CBD-5848-C0E4-5087-6BD340017988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588040774" sldId="2147483651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2" creationId="{FC8E3B92-6D60-5D9E-D504-ADA2BC05FF9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3" creationId="{2A6EB534-D1AD-D6E1-0EFF-73224516CEE3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42792600" sldId="2147483652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3" creationId="{86943AEA-4CC8-60E8-B99D-DFBCBCFF6A03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4" creationId="{C451C726-2C8C-48B2-7BB3-4B9C445455BE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938128628" sldId="2147483653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2" creationId="{3677624C-8A31-0494-78D7-ACE43A262EC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3" creationId="{93F4CFA8-9144-ECF9-A174-2B9ADA8F5CD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4" creationId="{15584EF8-5863-AC27-E72E-18B057D064C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5" creationId="{BDB7088F-CB0D-24A6-0056-EEB6C0B6B9C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6" creationId="{97039CD8-7E50-4F13-1CBF-FCA86F510C62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74147088" sldId="2147483656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2" creationId="{28C62062-E67B-9494-6123-1FDF833B5528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3" creationId="{F7302E84-A543-F058-52A1-019E4858447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4" creationId="{19CF7291-D2FC-39FE-DBE5-0466C299336A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953677135" sldId="2147483657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2" creationId="{61D8392C-6367-F3AD-F791-8302A121E72C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3" creationId="{ABFDF34D-7C0F-1F80-34A5-FDE9FE1BCEF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4" creationId="{95E5B26D-C5CF-6E0C-3682-FBD7D2424F21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171713668" sldId="214748365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2" creationId="{F9BD3DFF-C41A-D758-88B8-AEE2541D8D0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3" creationId="{2B5BB3C6-C7FD-9614-50F2-1C6A2427EFB7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589954239" sldId="2147483660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589954239" sldId="2147483660"/>
              <ac:spMk id="9" creationId="{00000000-0000-0000-0000-000000000000}"/>
            </ac:spMkLst>
          </pc:spChg>
          <pc:graphicFrameChg chg="mod">
            <ac:chgData name="Kobayashi, Aoi" userId="ef58220d-27c0-4129-aee6-d47e1f114e2f" providerId="ADAL" clId="{D3A09B73-12B4-4C9B-9D0D-32056B821987}" dt="2023-09-12T01:08:13.403" v="208"/>
            <ac:graphicFrameMkLst>
              <pc:docMk/>
              <pc:sldMasterMk cId="2615484843" sldId="2147483648"/>
              <pc:sldLayoutMk cId="1589954239" sldId="2147483660"/>
              <ac:graphicFrameMk id="2" creationId="{00000000-0000-0000-0000-000000000000}"/>
            </ac:graphicFrameMkLst>
          </pc:graphicFrameChg>
        </pc:sldLayoutChg>
      </pc:sldMasterChg>
    </pc:docChg>
  </pc:docChgLst>
  <pc:docChgLst>
    <pc:chgData name="Yamada, Keiko" userId="69b154d9-a872-4a88-9103-d595d1f3646d" providerId="ADAL" clId="{527A056F-042A-4116-B7FF-BDB5312E9BCD}"/>
    <pc:docChg chg="undo custSel modSld">
      <pc:chgData name="Yamada, Keiko" userId="69b154d9-a872-4a88-9103-d595d1f3646d" providerId="ADAL" clId="{527A056F-042A-4116-B7FF-BDB5312E9BCD}" dt="2023-09-12T08:33:59.489" v="111" actId="14100"/>
      <pc:docMkLst>
        <pc:docMk/>
      </pc:docMkLst>
      <pc:sldChg chg="modSp mod">
        <pc:chgData name="Yamada, Keiko" userId="69b154d9-a872-4a88-9103-d595d1f3646d" providerId="ADAL" clId="{527A056F-042A-4116-B7FF-BDB5312E9BCD}" dt="2023-09-12T08:33:31.636" v="82" actId="1036"/>
        <pc:sldMkLst>
          <pc:docMk/>
          <pc:sldMk cId="3623768495" sldId="257"/>
        </pc:sldMkLst>
        <pc:spChg chg="mod">
          <ac:chgData name="Yamada, Keiko" userId="69b154d9-a872-4a88-9103-d595d1f3646d" providerId="ADAL" clId="{527A056F-042A-4116-B7FF-BDB5312E9BCD}" dt="2023-09-12T08:32:21.861" v="37" actId="20577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Yamada, Keiko" userId="69b154d9-a872-4a88-9103-d595d1f3646d" providerId="ADAL" clId="{527A056F-042A-4116-B7FF-BDB5312E9BCD}" dt="2023-09-12T08:33:19.279" v="57" actId="1076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4" creationId="{DCFFE26D-8815-6B61-D77D-C88D21D4CC26}"/>
          </ac:spMkLst>
        </pc:spChg>
        <pc:grpChg chg="mod">
          <ac:chgData name="Yamada, Keiko" userId="69b154d9-a872-4a88-9103-d595d1f3646d" providerId="ADAL" clId="{527A056F-042A-4116-B7FF-BDB5312E9BCD}" dt="2023-09-12T08:33:16.753" v="56" actId="14100"/>
          <ac:grpSpMkLst>
            <pc:docMk/>
            <pc:sldMk cId="3623768495" sldId="257"/>
            <ac:grpSpMk id="15" creationId="{A5956028-0FD9-AFE5-11B3-98A7A60A9F05}"/>
          </ac:grpSpMkLst>
        </pc:grpChg>
      </pc:sldChg>
      <pc:sldChg chg="addSp delSp modSp mod">
        <pc:chgData name="Yamada, Keiko" userId="69b154d9-a872-4a88-9103-d595d1f3646d" providerId="ADAL" clId="{527A056F-042A-4116-B7FF-BDB5312E9BCD}" dt="2023-09-12T08:33:59.489" v="111" actId="14100"/>
        <pc:sldMkLst>
          <pc:docMk/>
          <pc:sldMk cId="665979446" sldId="259"/>
        </pc:sldMkLst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5" creationId="{F5EE02EB-7891-F777-46DB-627A24DD2A1E}"/>
          </ac:spMkLst>
        </pc:spChg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6" creationId="{172CD384-3F35-634F-A3FB-ED30CD2EEE14}"/>
          </ac:spMkLst>
        </pc:spChg>
        <pc:spChg chg="mod">
          <ac:chgData name="Yamada, Keiko" userId="69b154d9-a872-4a88-9103-d595d1f3646d" providerId="ADAL" clId="{527A056F-042A-4116-B7FF-BDB5312E9BCD}" dt="2023-09-12T08:33:45.092" v="88" actId="571"/>
          <ac:spMkLst>
            <pc:docMk/>
            <pc:sldMk cId="665979446" sldId="259"/>
            <ac:spMk id="8" creationId="{40988206-4FB3-3FC3-857C-F15823533699}"/>
          </ac:spMkLst>
        </pc:spChg>
        <pc:spChg chg="mod">
          <ac:chgData name="Yamada, Keiko" userId="69b154d9-a872-4a88-9103-d595d1f3646d" providerId="ADAL" clId="{527A056F-042A-4116-B7FF-BDB5312E9BCD}" dt="2023-09-12T08:33:54.241" v="109" actId="14100"/>
          <ac:spMkLst>
            <pc:docMk/>
            <pc:sldMk cId="665979446" sldId="259"/>
            <ac:spMk id="9" creationId="{6F21A83A-FB3A-914D-EFFE-3F157285D650}"/>
          </ac:spMkLst>
        </pc:spChg>
        <pc:spChg chg="mod">
          <ac:chgData name="Yamada, Keiko" userId="69b154d9-a872-4a88-9103-d595d1f3646d" providerId="ADAL" clId="{527A056F-042A-4116-B7FF-BDB5312E9BCD}" dt="2023-09-12T08:33:59.489" v="111" actId="14100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Yamada, Keiko" userId="69b154d9-a872-4a88-9103-d595d1f3646d" providerId="ADAL" clId="{527A056F-042A-4116-B7FF-BDB5312E9BCD}" dt="2023-09-12T08:33:57.071" v="110" actId="14100"/>
          <ac:spMkLst>
            <pc:docMk/>
            <pc:sldMk cId="665979446" sldId="259"/>
            <ac:spMk id="39" creationId="{2351C219-82CE-92D3-5344-FFC1A65A5838}"/>
          </ac:spMkLst>
        </pc:spChg>
        <pc:grpChg chg="add del mod">
          <ac:chgData name="Yamada, Keiko" userId="69b154d9-a872-4a88-9103-d595d1f3646d" providerId="ADAL" clId="{527A056F-042A-4116-B7FF-BDB5312E9BCD}" dt="2023-09-12T08:33:42.621" v="87" actId="478"/>
          <ac:grpSpMkLst>
            <pc:docMk/>
            <pc:sldMk cId="665979446" sldId="259"/>
            <ac:grpSpMk id="4" creationId="{7BDBB6F0-240F-230F-5D14-AE92C514037C}"/>
          </ac:grpSpMkLst>
        </pc:grpChg>
        <pc:grpChg chg="add mod">
          <ac:chgData name="Yamada, Keiko" userId="69b154d9-a872-4a88-9103-d595d1f3646d" providerId="ADAL" clId="{527A056F-042A-4116-B7FF-BDB5312E9BCD}" dt="2023-09-12T08:33:45.092" v="88" actId="571"/>
          <ac:grpSpMkLst>
            <pc:docMk/>
            <pc:sldMk cId="665979446" sldId="259"/>
            <ac:grpSpMk id="7" creationId="{C1280AA8-B6B8-6C3A-0522-866F108FF439}"/>
          </ac:grpSpMkLst>
        </pc:grpChg>
        <pc:grpChg chg="del">
          <ac:chgData name="Yamada, Keiko" userId="69b154d9-a872-4a88-9103-d595d1f3646d" providerId="ADAL" clId="{527A056F-042A-4116-B7FF-BDB5312E9BCD}" dt="2023-09-12T08:33:38.424" v="83" actId="478"/>
          <ac:grpSpMkLst>
            <pc:docMk/>
            <pc:sldMk cId="665979446" sldId="259"/>
            <ac:grpSpMk id="40" creationId="{C40F51BB-20C8-834E-2177-C66F83B8B8CF}"/>
          </ac:grpSpMkLst>
        </pc:grpChg>
      </pc:sldChg>
    </pc:docChg>
  </pc:docChgLst>
  <pc:docChgLst>
    <pc:chgData name="Ishii, Yuka" userId="3ba63dc6-6e55-475b-be6b-cac8d79da101" providerId="ADAL" clId="{6AF58198-B4FE-4A1C-95E8-6C00F51C1E20}"/>
    <pc:docChg chg="undo custSel addSld delSld modSld">
      <pc:chgData name="Ishii, Yuka" userId="3ba63dc6-6e55-475b-be6b-cac8d79da101" providerId="ADAL" clId="{6AF58198-B4FE-4A1C-95E8-6C00F51C1E20}" dt="2023-09-11T13:10:31.376" v="947" actId="20577"/>
      <pc:docMkLst>
        <pc:docMk/>
      </pc:docMkLst>
      <pc:sldChg chg="new add del">
        <pc:chgData name="Ishii, Yuka" userId="3ba63dc6-6e55-475b-be6b-cac8d79da101" providerId="ADAL" clId="{6AF58198-B4FE-4A1C-95E8-6C00F51C1E20}" dt="2023-09-11T12:43:07.791" v="10" actId="47"/>
        <pc:sldMkLst>
          <pc:docMk/>
          <pc:sldMk cId="3165350823" sldId="256"/>
        </pc:sldMkLst>
      </pc:sldChg>
      <pc:sldChg chg="addSp delSp modSp add del mod">
        <pc:chgData name="Ishii, Yuka" userId="3ba63dc6-6e55-475b-be6b-cac8d79da101" providerId="ADAL" clId="{6AF58198-B4FE-4A1C-95E8-6C00F51C1E20}" dt="2023-09-11T13:10:31.376" v="94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2" creationId="{55840CE6-2753-449F-A42D-608D24DAD087}"/>
          </ac:spMkLst>
        </pc:spChg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3" creationId="{2C672BBA-60D1-AABB-FD40-6D7876A96EC6}"/>
          </ac:spMkLst>
        </pc:spChg>
        <pc:spChg chg="add mod">
          <ac:chgData name="Ishii, Yuka" userId="3ba63dc6-6e55-475b-be6b-cac8d79da101" providerId="ADAL" clId="{6AF58198-B4FE-4A1C-95E8-6C00F51C1E20}" dt="2023-09-11T13:02:33.428" v="598" actId="12788"/>
          <ac:spMkLst>
            <pc:docMk/>
            <pc:sldMk cId="3623768495" sldId="257"/>
            <ac:spMk id="4" creationId="{FD1DBB9A-DE18-A086-AF2C-C0E4C0FFBACC}"/>
          </ac:spMkLst>
        </pc:spChg>
        <pc:spChg chg="add mod">
          <ac:chgData name="Ishii, Yuka" userId="3ba63dc6-6e55-475b-be6b-cac8d79da101" providerId="ADAL" clId="{6AF58198-B4FE-4A1C-95E8-6C00F51C1E20}" dt="2023-09-11T13:02:14.143" v="594" actId="554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AF58198-B4FE-4A1C-95E8-6C00F51C1E20}" dt="2023-09-11T12:50:02.096" v="251" actId="14100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Ishii, Yuka" userId="3ba63dc6-6e55-475b-be6b-cac8d79da101" providerId="ADAL" clId="{6AF58198-B4FE-4A1C-95E8-6C00F51C1E20}" dt="2023-09-11T13:00:30.176" v="573" actId="1278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Ishii, Yuka" userId="3ba63dc6-6e55-475b-be6b-cac8d79da101" providerId="ADAL" clId="{6AF58198-B4FE-4A1C-95E8-6C00F51C1E20}" dt="2023-09-11T12:56:30.754" v="41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AF58198-B4FE-4A1C-95E8-6C00F51C1E20}" dt="2023-09-11T12:47:10.901" v="156" actId="554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13" creationId="{F1EC8D81-9769-214E-4F12-B700FE62FDA6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4" creationId="{4D08180A-9570-3FB1-F69D-B6E5FD0C900F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5" creationId="{CDAC0377-51E8-9BBE-340F-C6707357EB14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6" creationId="{0751D684-4298-9070-492C-69F82F7BD4B2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7" creationId="{5594DE72-344B-0AD2-86AC-92DC7AA75FCD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8" creationId="{B1DEADF3-2091-5E15-DCCB-5A51E4BEBF2E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9" creationId="{AAA274B3-FE3F-407D-0260-4DE80BA629A9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0" creationId="{7C1E094B-288B-12F7-051D-9960C0C5D76E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1" creationId="{E10E0497-950E-CA6C-B131-0710C617B25C}"/>
          </ac:spMkLst>
        </pc:spChg>
        <pc:spChg chg="add mod">
          <ac:chgData name="Ishii, Yuka" userId="3ba63dc6-6e55-475b-be6b-cac8d79da101" providerId="ADAL" clId="{6AF58198-B4FE-4A1C-95E8-6C00F51C1E20}" dt="2023-09-11T12:54:03.295" v="361" actId="14100"/>
          <ac:spMkLst>
            <pc:docMk/>
            <pc:sldMk cId="3623768495" sldId="257"/>
            <ac:spMk id="22" creationId="{F579E50D-4425-B556-3FE3-CA99EDF54B85}"/>
          </ac:spMkLst>
        </pc:spChg>
        <pc:spChg chg="add mod">
          <ac:chgData name="Ishii, Yuka" userId="3ba63dc6-6e55-475b-be6b-cac8d79da101" providerId="ADAL" clId="{6AF58198-B4FE-4A1C-95E8-6C00F51C1E20}" dt="2023-09-11T12:55:05.934" v="383" actId="20577"/>
          <ac:spMkLst>
            <pc:docMk/>
            <pc:sldMk cId="3623768495" sldId="257"/>
            <ac:spMk id="23" creationId="{3C59940E-9A73-BF3C-EAAB-5D2B2DB51B52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4" creationId="{BA8A7158-B5BB-6C66-5E38-6552AEF4A95D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5" creationId="{0E5CE8F3-F8FD-7442-3FA3-94F7FA943A93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6" creationId="{8B80550C-3137-BAEB-2518-2F49F11C63BA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7" creationId="{2ABFE132-C711-9418-1B43-0835E1E5101D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8" creationId="{EA06B1D0-F929-7E59-93E7-3811E5E2ECD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9" creationId="{8F9CA65B-3208-9D8B-D74A-70622108B56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30" creationId="{22173AAB-3391-2D21-C43E-29D7F16F7CB8}"/>
          </ac:spMkLst>
        </pc:spChg>
        <pc:spChg chg="add mod">
          <ac:chgData name="Ishii, Yuka" userId="3ba63dc6-6e55-475b-be6b-cac8d79da101" providerId="ADAL" clId="{6AF58198-B4FE-4A1C-95E8-6C00F51C1E20}" dt="2023-09-11T12:55:40.437" v="391" actId="554"/>
          <ac:spMkLst>
            <pc:docMk/>
            <pc:sldMk cId="3623768495" sldId="257"/>
            <ac:spMk id="31" creationId="{8441653C-2B4D-018F-888F-D8C9444D4862}"/>
          </ac:spMkLst>
        </pc:spChg>
        <pc:spChg chg="add mod">
          <ac:chgData name="Ishii, Yuka" userId="3ba63dc6-6e55-475b-be6b-cac8d79da101" providerId="ADAL" clId="{6AF58198-B4FE-4A1C-95E8-6C00F51C1E20}" dt="2023-09-11T12:55:54.848" v="394" actId="1076"/>
          <ac:spMkLst>
            <pc:docMk/>
            <pc:sldMk cId="3623768495" sldId="257"/>
            <ac:spMk id="32" creationId="{DFDC7D29-7FCF-BA9A-347F-C28E3EB0762B}"/>
          </ac:spMkLst>
        </pc:spChg>
        <pc:spChg chg="add mod">
          <ac:chgData name="Ishii, Yuka" userId="3ba63dc6-6e55-475b-be6b-cac8d79da101" providerId="ADAL" clId="{6AF58198-B4FE-4A1C-95E8-6C00F51C1E20}" dt="2023-09-11T12:55:43.757" v="392" actId="555"/>
          <ac:spMkLst>
            <pc:docMk/>
            <pc:sldMk cId="3623768495" sldId="257"/>
            <ac:spMk id="33" creationId="{4E9BE460-17B4-9ADA-7366-AC97AE409470}"/>
          </ac:spMkLst>
        </pc:spChg>
        <pc:spChg chg="add mod">
          <ac:chgData name="Ishii, Yuka" userId="3ba63dc6-6e55-475b-be6b-cac8d79da101" providerId="ADAL" clId="{6AF58198-B4FE-4A1C-95E8-6C00F51C1E20}" dt="2023-09-11T12:56:03.005" v="411" actId="20577"/>
          <ac:spMkLst>
            <pc:docMk/>
            <pc:sldMk cId="3623768495" sldId="257"/>
            <ac:spMk id="34" creationId="{DCFFE26D-8815-6B61-D77D-C88D21D4CC26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5" creationId="{BF452FC3-79C3-01DE-E974-CD16C1ABE9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6" creationId="{B672A25C-7418-D1A5-04D6-59D9F565F0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7" creationId="{DAD4B9C9-4845-82B0-C346-AAA3EB2B495A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38" creationId="{EE685479-3F5D-F201-FB0C-4BEFA13AF3C6}"/>
          </ac:spMkLst>
        </pc:spChg>
        <pc:spChg chg="add mod">
          <ac:chgData name="Ishii, Yuka" userId="3ba63dc6-6e55-475b-be6b-cac8d79da101" providerId="ADAL" clId="{6AF58198-B4FE-4A1C-95E8-6C00F51C1E20}" dt="2023-09-11T13:05:11.695" v="801" actId="14100"/>
          <ac:spMkLst>
            <pc:docMk/>
            <pc:sldMk cId="3623768495" sldId="257"/>
            <ac:spMk id="39" creationId="{3C0A55CC-C35C-1DD1-5273-5E67309692D6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0" creationId="{699C181F-1003-D168-E5CA-AA2D9B34AD61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1" creationId="{BE5D833D-B726-17D4-72F4-C8129D8702AD}"/>
          </ac:spMkLst>
        </pc:spChg>
        <pc:spChg chg="add mod">
          <ac:chgData name="Ishii, Yuka" userId="3ba63dc6-6e55-475b-be6b-cac8d79da101" providerId="ADAL" clId="{6AF58198-B4FE-4A1C-95E8-6C00F51C1E20}" dt="2023-09-11T13:05:32.902" v="807" actId="14100"/>
          <ac:spMkLst>
            <pc:docMk/>
            <pc:sldMk cId="3623768495" sldId="257"/>
            <ac:spMk id="44" creationId="{234FA5C0-E8E3-8E6A-3B45-8CCF457AE077}"/>
          </ac:spMkLst>
        </pc:spChg>
        <pc:spChg chg="add mod">
          <ac:chgData name="Ishii, Yuka" userId="3ba63dc6-6e55-475b-be6b-cac8d79da101" providerId="ADAL" clId="{6AF58198-B4FE-4A1C-95E8-6C00F51C1E20}" dt="2023-09-11T13:08:08.971" v="910" actId="14100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Ishii, Yuka" userId="3ba63dc6-6e55-475b-be6b-cac8d79da101" providerId="ADAL" clId="{6AF58198-B4FE-4A1C-95E8-6C00F51C1E20}" dt="2023-09-11T13:10:31.376" v="947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AF58198-B4FE-4A1C-95E8-6C00F51C1E20}" dt="2023-09-11T13:08:20.368" v="914" actId="14100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Ishii, Yuka" userId="3ba63dc6-6e55-475b-be6b-cac8d79da101" providerId="ADAL" clId="{6AF58198-B4FE-4A1C-95E8-6C00F51C1E20}" dt="2023-09-11T13:08:18.370" v="913" actId="14100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Ishii, Yuka" userId="3ba63dc6-6e55-475b-be6b-cac8d79da101" providerId="ADAL" clId="{6AF58198-B4FE-4A1C-95E8-6C00F51C1E20}" dt="2023-09-11T12:44:09.012" v="14" actId="552"/>
          <ac:spMkLst>
            <pc:docMk/>
            <pc:sldMk cId="3623768495" sldId="257"/>
            <ac:spMk id="87" creationId="{3CAA6A7C-897C-188A-E071-CD3CE444DE91}"/>
          </ac:spMkLst>
        </pc:spChg>
        <pc:graphicFrameChg chg="del mod modGraphic">
          <ac:chgData name="Ishii, Yuka" userId="3ba63dc6-6e55-475b-be6b-cac8d79da101" providerId="ADAL" clId="{6AF58198-B4FE-4A1C-95E8-6C00F51C1E20}" dt="2023-09-11T12:52:32.647" v="306" actId="478"/>
          <ac:graphicFrameMkLst>
            <pc:docMk/>
            <pc:sldMk cId="3623768495" sldId="257"/>
            <ac:graphicFrameMk id="7" creationId="{1610B8FE-56A0-F15E-1B14-2040C6480E21}"/>
          </ac:graphicFrameMkLst>
        </pc:graphicFrameChg>
        <pc:graphicFrameChg chg="add del mod modGraphic">
          <ac:chgData name="Ishii, Yuka" userId="3ba63dc6-6e55-475b-be6b-cac8d79da101" providerId="ADAL" clId="{6AF58198-B4FE-4A1C-95E8-6C00F51C1E20}" dt="2023-09-11T13:04:39.846" v="796" actId="478"/>
          <ac:graphicFrameMkLst>
            <pc:docMk/>
            <pc:sldMk cId="3623768495" sldId="257"/>
            <ac:graphicFrameMk id="42" creationId="{DF86FF84-8DA1-94B5-C960-00B50B535CA2}"/>
          </ac:graphicFrameMkLst>
        </pc:graphicFrameChg>
        <pc:graphicFrameChg chg="add del mod">
          <ac:chgData name="Ishii, Yuka" userId="3ba63dc6-6e55-475b-be6b-cac8d79da101" providerId="ADAL" clId="{6AF58198-B4FE-4A1C-95E8-6C00F51C1E20}" dt="2023-09-11T13:02:48.748" v="601"/>
          <ac:graphicFrameMkLst>
            <pc:docMk/>
            <pc:sldMk cId="3623768495" sldId="257"/>
            <ac:graphicFrameMk id="43" creationId="{87CAF892-7E49-31BA-9B5C-D27A14DB8178}"/>
          </ac:graphicFrameMkLst>
        </pc:graphicFrameChg>
      </pc:sldChg>
      <pc:sldChg chg="new add del">
        <pc:chgData name="Ishii, Yuka" userId="3ba63dc6-6e55-475b-be6b-cac8d79da101" providerId="ADAL" clId="{6AF58198-B4FE-4A1C-95E8-6C00F51C1E20}" dt="2023-09-11T12:43:06.510" v="9" actId="47"/>
        <pc:sldMkLst>
          <pc:docMk/>
          <pc:sldMk cId="2322213491" sldId="258"/>
        </pc:sldMkLst>
      </pc:sldChg>
      <pc:sldMasterChg chg="addSldLayout delSldLayout">
        <pc:chgData name="Ishii, Yuka" userId="3ba63dc6-6e55-475b-be6b-cac8d79da101" providerId="ADAL" clId="{6AF58198-B4FE-4A1C-95E8-6C00F51C1E20}" dt="2023-09-11T12:42:47.917" v="5" actId="47"/>
        <pc:sldMasterMkLst>
          <pc:docMk/>
          <pc:sldMasterMk cId="2615484843" sldId="2147483648"/>
        </pc:sldMasterMkLst>
        <pc:sldLayoutChg chg="add del">
          <pc:chgData name="Ishii, Yuka" userId="3ba63dc6-6e55-475b-be6b-cac8d79da101" providerId="ADAL" clId="{6AF58198-B4FE-4A1C-95E8-6C00F51C1E20}" dt="2023-09-11T12:42:47.917" v="5" actId="47"/>
          <pc:sldLayoutMkLst>
            <pc:docMk/>
            <pc:sldMasterMk cId="2615484843" sldId="2147483648"/>
            <pc:sldLayoutMk cId="1589954239" sldId="2147483660"/>
          </pc:sldLayoutMkLst>
        </pc:sldLayoutChg>
      </pc:sldMasterChg>
    </pc:docChg>
  </pc:docChgLst>
  <pc:docChgLst>
    <pc:chgData name="Ishii, Yuka" userId="3ba63dc6-6e55-475b-be6b-cac8d79da101" providerId="ADAL" clId="{E0B024A7-BF10-4769-ADBC-F0FD32B5BCA4}"/>
    <pc:docChg chg="undo custSel modSld">
      <pc:chgData name="Ishii, Yuka" userId="3ba63dc6-6e55-475b-be6b-cac8d79da101" providerId="ADAL" clId="{E0B024A7-BF10-4769-ADBC-F0FD32B5BCA4}" dt="2023-09-28T04:34:19.817" v="275" actId="20577"/>
      <pc:docMkLst>
        <pc:docMk/>
      </pc:docMkLst>
      <pc:sldChg chg="addSp delSp modSp mod">
        <pc:chgData name="Ishii, Yuka" userId="3ba63dc6-6e55-475b-be6b-cac8d79da101" providerId="ADAL" clId="{E0B024A7-BF10-4769-ADBC-F0FD32B5BCA4}" dt="2023-09-28T04:34:19.817" v="275" actId="20577"/>
        <pc:sldMkLst>
          <pc:docMk/>
          <pc:sldMk cId="3623768495" sldId="257"/>
        </pc:sldMkLst>
        <pc:spChg chg="mod">
          <ac:chgData name="Ishii, Yuka" userId="3ba63dc6-6e55-475b-be6b-cac8d79da101" providerId="ADAL" clId="{E0B024A7-BF10-4769-ADBC-F0FD32B5BCA4}" dt="2023-09-28T04:34:19.817" v="275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E0B024A7-BF10-4769-ADBC-F0FD32B5BCA4}" dt="2023-09-28T04:13:28.641" v="254" actId="14100"/>
          <ac:spMkLst>
            <pc:docMk/>
            <pc:sldMk cId="3623768495" sldId="257"/>
            <ac:spMk id="45" creationId="{70D074C3-4A3C-3B70-F723-79ABB447E15C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1" creationId="{7A5B9F25-175E-7B33-5203-D678032CFC51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8" creationId="{A8B95E82-36C7-8A4E-15F2-49E7C45F54D8}"/>
          </ac:spMkLst>
        </pc:spChg>
        <pc:grpChg chg="add mod">
          <ac:chgData name="Ishii, Yuka" userId="3ba63dc6-6e55-475b-be6b-cac8d79da101" providerId="ADAL" clId="{E0B024A7-BF10-4769-ADBC-F0FD32B5BCA4}" dt="2023-09-28T04:33:42.752" v="261" actId="164"/>
          <ac:grpSpMkLst>
            <pc:docMk/>
            <pc:sldMk cId="3623768495" sldId="257"/>
            <ac:grpSpMk id="2" creationId="{AC8396FF-4836-00FD-31C5-650C6CE2BD45}"/>
          </ac:grpSpMkLst>
        </pc:grpChg>
        <pc:grpChg chg="del">
          <ac:chgData name="Ishii, Yuka" userId="3ba63dc6-6e55-475b-be6b-cac8d79da101" providerId="ADAL" clId="{E0B024A7-BF10-4769-ADBC-F0FD32B5BCA4}" dt="2023-09-28T04:33:31.940" v="259" actId="165"/>
          <ac:grpSpMkLst>
            <pc:docMk/>
            <pc:sldMk cId="3623768495" sldId="257"/>
            <ac:grpSpMk id="27" creationId="{B81B47EB-8F1D-6A1B-6E6E-3499B53FDBA7}"/>
          </ac:grpSpMkLst>
        </pc:grpChg>
      </pc:sldChg>
      <pc:sldChg chg="addSp delSp modSp mod">
        <pc:chgData name="Ishii, Yuka" userId="3ba63dc6-6e55-475b-be6b-cac8d79da101" providerId="ADAL" clId="{E0B024A7-BF10-4769-ADBC-F0FD32B5BCA4}" dt="2023-09-28T04:33:53.233" v="264" actId="164"/>
        <pc:sldMkLst>
          <pc:docMk/>
          <pc:sldMk cId="2776085579" sldId="258"/>
        </pc:sldMkLst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8" creationId="{E59311C3-B272-E00A-06B3-BB9BF283EBE0}"/>
          </ac:spMkLst>
        </pc:spChg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12" creationId="{7950EF54-BF0E-B8C3-3663-661E2231A9B9}"/>
          </ac:spMkLst>
        </pc:spChg>
        <pc:spChg chg="add mod">
          <ac:chgData name="Ishii, Yuka" userId="3ba63dc6-6e55-475b-be6b-cac8d79da101" providerId="ADAL" clId="{E0B024A7-BF10-4769-ADBC-F0FD32B5BCA4}" dt="2023-09-28T04:13:44.668" v="258"/>
          <ac:spMkLst>
            <pc:docMk/>
            <pc:sldMk cId="2776085579" sldId="258"/>
            <ac:spMk id="14" creationId="{D2E33561-BA03-3CAF-3E96-8800B79E695B}"/>
          </ac:spMkLst>
        </pc:spChg>
        <pc:spChg chg="del mod">
          <ac:chgData name="Ishii, Yuka" userId="3ba63dc6-6e55-475b-be6b-cac8d79da101" providerId="ADAL" clId="{E0B024A7-BF10-4769-ADBC-F0FD32B5BCA4}" dt="2023-09-28T04:13:44.544" v="257" actId="478"/>
          <ac:spMkLst>
            <pc:docMk/>
            <pc:sldMk cId="2776085579" sldId="258"/>
            <ac:spMk id="45" creationId="{70D074C3-4A3C-3B70-F723-79ABB447E15C}"/>
          </ac:spMkLst>
        </pc:spChg>
        <pc:grpChg chg="del">
          <ac:chgData name="Ishii, Yuka" userId="3ba63dc6-6e55-475b-be6b-cac8d79da101" providerId="ADAL" clId="{E0B024A7-BF10-4769-ADBC-F0FD32B5BCA4}" dt="2023-09-28T04:33:48.177" v="262" actId="165"/>
          <ac:grpSpMkLst>
            <pc:docMk/>
            <pc:sldMk cId="2776085579" sldId="258"/>
            <ac:grpSpMk id="3" creationId="{442FA6D2-C275-916F-DD15-F07694C64350}"/>
          </ac:grpSpMkLst>
        </pc:grpChg>
        <pc:grpChg chg="add mod">
          <ac:chgData name="Ishii, Yuka" userId="3ba63dc6-6e55-475b-be6b-cac8d79da101" providerId="ADAL" clId="{E0B024A7-BF10-4769-ADBC-F0FD32B5BCA4}" dt="2023-09-28T04:33:53.233" v="264" actId="164"/>
          <ac:grpSpMkLst>
            <pc:docMk/>
            <pc:sldMk cId="2776085579" sldId="258"/>
            <ac:grpSpMk id="9" creationId="{513530DE-CAC1-DB17-6E92-C9EF841B09F8}"/>
          </ac:grpSpMkLst>
        </pc:grpChg>
      </pc:sldChg>
    </pc:docChg>
  </pc:docChgLst>
  <pc:docChgLst>
    <pc:chgData name="Ishii, Yuka" userId="S::yuka.ishii@tohmatsu.co.jp::3ba63dc6-6e55-475b-be6b-cac8d79da101" providerId="AD" clId="Web-{76187624-B170-55A3-1200-BC8B5D63D106}"/>
    <pc:docChg chg="modSld">
      <pc:chgData name="Ishii, Yuka" userId="S::yuka.ishii@tohmatsu.co.jp::3ba63dc6-6e55-475b-be6b-cac8d79da101" providerId="AD" clId="Web-{76187624-B170-55A3-1200-BC8B5D63D106}" dt="2023-10-10T08:47:15.613" v="2" actId="20577"/>
      <pc:docMkLst>
        <pc:docMk/>
      </pc:docMkLst>
      <pc:sldChg chg="modSp">
        <pc:chgData name="Ishii, Yuka" userId="S::yuka.ishii@tohmatsu.co.jp::3ba63dc6-6e55-475b-be6b-cac8d79da101" providerId="AD" clId="Web-{76187624-B170-55A3-1200-BC8B5D63D106}" dt="2023-10-10T08:47:15.613" v="2" actId="20577"/>
        <pc:sldMkLst>
          <pc:docMk/>
          <pc:sldMk cId="2776085579" sldId="258"/>
        </pc:sldMkLst>
        <pc:spChg chg="mod">
          <ac:chgData name="Ishii, Yuka" userId="S::yuka.ishii@tohmatsu.co.jp::3ba63dc6-6e55-475b-be6b-cac8d79da101" providerId="AD" clId="Web-{76187624-B170-55A3-1200-BC8B5D63D106}" dt="2023-10-10T08:47:15.613" v="2" actId="2057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589F4-4EC9-4181-AB9F-8A38B2D78B3C}" type="datetimeFigureOut">
              <a:rPr kumimoji="1" lang="ja-JP" altLang="en-US" smtClean="0"/>
              <a:t>2024/4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07886-7DFD-4E2D-8BA6-D10CC9F16E4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8442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7629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5019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19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-5814" y="0"/>
            <a:ext cx="36972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7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37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73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en-US" altLang="ja-JP"/>
              <a:t>DT Template A4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2"/>
            <a:ext cx="409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1B844-D6F5-480C-BEB0-0E7DC0AD00E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957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/>
          <p:cNvSpPr/>
          <p:nvPr/>
        </p:nvSpPr>
        <p:spPr>
          <a:xfrm>
            <a:off x="126227" y="402767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1</a:t>
            </a:fld>
            <a:endParaRPr lang="ja-JP" altLang="en-US"/>
          </a:p>
        </p:txBody>
      </p:sp>
      <p:graphicFrame>
        <p:nvGraphicFramePr>
          <p:cNvPr id="33" name="表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476796"/>
              </p:ext>
            </p:extLst>
          </p:nvPr>
        </p:nvGraphicFramePr>
        <p:xfrm>
          <a:off x="126229" y="688533"/>
          <a:ext cx="2248262" cy="279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79341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34" name="表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7878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7" y="1088571"/>
            <a:ext cx="2115525" cy="344731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証事業</a:t>
            </a:r>
            <a:r>
              <a:rPr lang="ja-JP" altLang="en-US" sz="1400" b="1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内容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33302"/>
            <a:ext cx="9637776" cy="52624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線吹き出し 1 (枠付き) 38"/>
          <p:cNvSpPr/>
          <p:nvPr/>
        </p:nvSpPr>
        <p:spPr>
          <a:xfrm>
            <a:off x="-3109033" y="477159"/>
            <a:ext cx="2493887" cy="1105861"/>
          </a:xfrm>
          <a:prstGeom prst="borderCallout1">
            <a:avLst>
              <a:gd name="adj1" fmla="val 4389"/>
              <a:gd name="adj2" fmla="val 101471"/>
              <a:gd name="adj3" fmla="val -859"/>
              <a:gd name="adj4" fmla="val 150281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3930783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スペースが足りない場合は、</a:t>
            </a:r>
            <a:r>
              <a:rPr kumimoji="1" lang="ja-JP" altLang="en-US" dirty="0">
                <a:solidFill>
                  <a:srgbClr val="FFFF00"/>
                </a:solidFill>
              </a:rPr>
              <a:t>スライドを複製してページを増やしてください。</a:t>
            </a:r>
          </a:p>
        </p:txBody>
      </p:sp>
      <p:sp>
        <p:nvSpPr>
          <p:cNvPr id="54" name="正方形/長方形 53"/>
          <p:cNvSpPr/>
          <p:nvPr/>
        </p:nvSpPr>
        <p:spPr>
          <a:xfrm>
            <a:off x="1198739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事業内容が分かりやすいよう、イラストや図を使って概要をまとめ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8318436" y="744339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graphicFrame>
        <p:nvGraphicFramePr>
          <p:cNvPr id="8" name="表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229790"/>
              </p:ext>
            </p:extLst>
          </p:nvPr>
        </p:nvGraphicFramePr>
        <p:xfrm>
          <a:off x="126228" y="120213"/>
          <a:ext cx="2248263" cy="565108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国際会議の開催効果拡大実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  <p:sp>
        <p:nvSpPr>
          <p:cNvPr id="14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256502" y="1088570"/>
            <a:ext cx="7522250" cy="344732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-3109034" y="1776571"/>
            <a:ext cx="2493887" cy="14158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EA9D07E-5814-FCA8-D3F5-8154C2C20324}"/>
              </a:ext>
            </a:extLst>
          </p:cNvPr>
          <p:cNvSpPr/>
          <p:nvPr/>
        </p:nvSpPr>
        <p:spPr>
          <a:xfrm>
            <a:off x="6685478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提出はパワーポイントでお願いします。</a:t>
            </a:r>
            <a:endParaRPr kumimoji="1" lang="en-US" altLang="ja-JP" dirty="0"/>
          </a:p>
          <a:p>
            <a:r>
              <a:rPr kumimoji="1" lang="ja-JP" altLang="en-US" sz="1200" dirty="0"/>
              <a:t>（</a:t>
            </a:r>
            <a:r>
              <a:rPr kumimoji="1" lang="en-US" altLang="ja-JP" sz="1200" dirty="0"/>
              <a:t>PDF</a:t>
            </a:r>
            <a:r>
              <a:rPr kumimoji="1" lang="ja-JP" altLang="en-US" sz="1200" dirty="0"/>
              <a:t>変換のものは不可）</a:t>
            </a:r>
          </a:p>
        </p:txBody>
      </p:sp>
    </p:spTree>
    <p:extLst>
      <p:ext uri="{BB962C8B-B14F-4D97-AF65-F5344CB8AC3E}">
        <p14:creationId xmlns:p14="http://schemas.microsoft.com/office/powerpoint/2010/main" val="2776085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126227" y="413796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2</a:t>
            </a:fld>
            <a:endParaRPr lang="ja-JP" altLang="en-US"/>
          </a:p>
        </p:txBody>
      </p:sp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8" y="1072820"/>
            <a:ext cx="2012288" cy="34663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施</a:t>
            </a:r>
            <a:r>
              <a:rPr lang="ja-JP" altLang="en-US" sz="1400" b="1" dirty="0">
                <a:solidFill>
                  <a:srgbClr val="FF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体制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10256"/>
            <a:ext cx="9637776" cy="52855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線吹き出し 1 (枠付き) 10"/>
          <p:cNvSpPr/>
          <p:nvPr/>
        </p:nvSpPr>
        <p:spPr>
          <a:xfrm>
            <a:off x="-2784020" y="625727"/>
            <a:ext cx="2493887" cy="1139437"/>
          </a:xfrm>
          <a:prstGeom prst="borderCallout1">
            <a:avLst>
              <a:gd name="adj1" fmla="val 20112"/>
              <a:gd name="adj2" fmla="val 97378"/>
              <a:gd name="adj3" fmla="val 15657"/>
              <a:gd name="adj4" fmla="val 130989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704389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申請者・共同申請者及びステークホルダー等の役割が分かりやすいよう、イラストや図を使って概要をまとめ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4412788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>
                <a:solidFill>
                  <a:srgbClr val="FFFF00"/>
                </a:solidFill>
              </a:rPr>
              <a:t>「実施体制」は基本的に</a:t>
            </a:r>
            <a:r>
              <a:rPr kumimoji="1" lang="en-US" altLang="ja-JP" dirty="0">
                <a:solidFill>
                  <a:srgbClr val="FFFF00"/>
                </a:solidFill>
              </a:rPr>
              <a:t>1</a:t>
            </a:r>
            <a:r>
              <a:rPr kumimoji="1" lang="ja-JP" altLang="en-US" dirty="0">
                <a:solidFill>
                  <a:srgbClr val="FFFF00"/>
                </a:solidFill>
              </a:rPr>
              <a:t>ページに纏めてください。</a:t>
            </a:r>
            <a:endParaRPr kumimoji="1" lang="en-US" altLang="ja-JP" dirty="0">
              <a:solidFill>
                <a:srgbClr val="FFFF00"/>
              </a:solidFill>
            </a:endParaRPr>
          </a:p>
          <a:p>
            <a:r>
              <a:rPr kumimoji="1" lang="ja-JP" altLang="en-US" dirty="0"/>
              <a:t>万が一収まらない場合は、スライドを複製してページを増やしてください。</a:t>
            </a:r>
          </a:p>
        </p:txBody>
      </p:sp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877878"/>
              </p:ext>
            </p:extLst>
          </p:nvPr>
        </p:nvGraphicFramePr>
        <p:xfrm>
          <a:off x="126229" y="688534"/>
          <a:ext cx="224826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41179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461361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17" name="正方形/長方形 16"/>
          <p:cNvSpPr/>
          <p:nvPr/>
        </p:nvSpPr>
        <p:spPr>
          <a:xfrm>
            <a:off x="8333184" y="737042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sp>
        <p:nvSpPr>
          <p:cNvPr id="20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153266" y="1072821"/>
            <a:ext cx="7625486" cy="346629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-2784021" y="1908986"/>
            <a:ext cx="2493887" cy="149214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  <p:graphicFrame>
        <p:nvGraphicFramePr>
          <p:cNvPr id="18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909692"/>
              </p:ext>
            </p:extLst>
          </p:nvPr>
        </p:nvGraphicFramePr>
        <p:xfrm>
          <a:off x="126228" y="123425"/>
          <a:ext cx="2248263" cy="565108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国際会議の開催効果拡大実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817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kumimoji="1" sz="1200" dirty="0" smtClean="0">
            <a:latin typeface="Yu Gothic UI" panose="020B0500000000000000" pitchFamily="50" charset="-128"/>
            <a:ea typeface="Yu Gothic UI" panose="020B05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B2938C162E754F97DF37E2C2D763AD" ma:contentTypeVersion="5" ma:contentTypeDescription="Create a new document." ma:contentTypeScope="" ma:versionID="73e4d3e767fa3018d835a15834ac4d46">
  <xsd:schema xmlns:xsd="http://www.w3.org/2001/XMLSchema" xmlns:xs="http://www.w3.org/2001/XMLSchema" xmlns:p="http://schemas.microsoft.com/office/2006/metadata/properties" xmlns:ns2="fc4234d7-82f7-4bf7-9277-c77ef2e438a4" xmlns:ns3="3bb0c8c5-64ea-472d-9b36-dcd2b1e92629" targetNamespace="http://schemas.microsoft.com/office/2006/metadata/properties" ma:root="true" ma:fieldsID="6ab64d5c8a7e1dac6f3ee26ab852fdc9" ns2:_="" ns3:_="">
    <xsd:import namespace="fc4234d7-82f7-4bf7-9277-c77ef2e438a4"/>
    <xsd:import namespace="3bb0c8c5-64ea-472d-9b36-dcd2b1e926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4234d7-82f7-4bf7-9277-c77ef2e438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b0c8c5-64ea-472d-9b36-dcd2b1e9262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E0E0DF-28DD-47E7-A9FD-99C6C82B07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4BBE2E-B27B-41C1-9A48-A061F25E731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bb0c8c5-64ea-472d-9b36-dcd2b1e92629"/>
    <ds:schemaRef ds:uri="fc4234d7-82f7-4bf7-9277-c77ef2e438a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7746C07-C93B-49F4-B15A-209CCB1C3C04}">
  <ds:schemaRefs>
    <ds:schemaRef ds:uri="3bb0c8c5-64ea-472d-9b36-dcd2b1e92629"/>
    <ds:schemaRef ds:uri="fc4234d7-82f7-4bf7-9277-c77ef2e438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3</TotalTime>
  <Words>253</Words>
  <Application>Microsoft Office PowerPoint</Application>
  <PresentationFormat>A4 210 x 297 mm</PresentationFormat>
  <Paragraphs>39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Yu Gothic UI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Administrator</dc:creator>
  <cp:lastModifiedBy>伊藤 剛至</cp:lastModifiedBy>
  <cp:revision>24</cp:revision>
  <cp:lastPrinted>2023-11-20T10:28:38Z</cp:lastPrinted>
  <dcterms:created xsi:type="dcterms:W3CDTF">2023-09-11T12:42:05Z</dcterms:created>
  <dcterms:modified xsi:type="dcterms:W3CDTF">2024-04-04T04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11T12:42:0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cd0284f-ef82-4c69-940d-1b2a2f3b0d4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0FB2938C162E754F97DF37E2C2D763AD</vt:lpwstr>
  </property>
</Properties>
</file>